
<file path=[Content_Types].xml><?xml version="1.0" encoding="utf-8"?>
<Types xmlns="http://schemas.openxmlformats.org/package/2006/content-types">
  <Override PartName="/ppt/slides/slide5.xml" ContentType="application/vnd.openxmlformats-officedocument.presentationml.slide+xml"/>
  <Override PartName="/ppt/slides/slide6.xml" ContentType="application/vnd.openxmlformats-officedocument.presentationml.slide+xml"/>
  <Override PartName="/ppt/slideLayouts/slideLayout7.xml" ContentType="application/vnd.openxmlformats-officedocument.presentationml.slideLayout+xml"/>
  <Override PartName="/ppt/slideLayouts/slideLayout8.xml" ContentType="application/vnd.openxmlformats-officedocument.presentationml.slideLayout+xml"/>
  <Default Extension="png" ContentType="image/png"/>
  <Override PartName="/ppt/notesSlides/notesSlide1.xml" ContentType="application/vnd.openxmlformats-officedocument.presentationml.notesSlide+xml"/>
  <Override PartName="/ppt/slideMasters/slideMaster1.xml" ContentType="application/vnd.openxmlformats-officedocument.presentationml.slideMaster+xml"/>
  <Override PartName="/ppt/slides/slide3.xml" ContentType="application/vnd.openxmlformats-officedocument.presentationml.slide+xml"/>
  <Override PartName="/ppt/slides/slide4.xml" ContentType="application/vnd.openxmlformats-officedocument.presentationml.slide+xml"/>
  <Override PartName="/ppt/presProps.xml" ContentType="application/vnd.openxmlformats-officedocument.presentationml.presProp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slides/slide1.xml" ContentType="application/vnd.openxmlformats-officedocument.presentationml.slide+xml"/>
  <Override PartName="/ppt/slides/slide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3.xml" ContentType="application/vnd.openxmlformats-officedocument.presentationml.slideLayout+xml"/>
  <Default Extension="jpeg" ContentType="image/jpeg"/>
  <Default Extension="emf" ContentType="image/x-emf"/>
  <Override PartName="/ppt/tags/tag2.xml" ContentType="application/vnd.openxmlformats-officedocument.presentationml.tags+xml"/>
  <Default Extension="rels" ContentType="application/vnd.openxmlformats-package.relationships+xml"/>
  <Default Extension="xml" ContentType="application/xml"/>
  <Override PartName="/ppt/presentation.xml" ContentType="application/vnd.openxmlformats-officedocument.presentationml.presentation.main+xml"/>
  <Override PartName="/ppt/notesMasters/notesMaster1.xml" ContentType="application/vnd.openxmlformats-officedocument.presentationml.notesMaster+xml"/>
  <Override PartName="/ppt/slideLayouts/slideLayout1.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Override PartName="/ppt/slides/slide10.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0.xml" ContentType="application/vnd.openxmlformats-officedocument.presentationml.slideLayout+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docProps/core.xml" ContentType="application/vnd.openxmlformats-package.core-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12"/>
  </p:notesMasterIdLst>
  <p:sldIdLst>
    <p:sldId id="264" r:id="rId2"/>
    <p:sldId id="256" r:id="rId3"/>
    <p:sldId id="257" r:id="rId4"/>
    <p:sldId id="258" r:id="rId5"/>
    <p:sldId id="259" r:id="rId6"/>
    <p:sldId id="260" r:id="rId7"/>
    <p:sldId id="261" r:id="rId8"/>
    <p:sldId id="262" r:id="rId9"/>
    <p:sldId id="265" r:id="rId10"/>
    <p:sldId id="266" r:id="rId11"/>
  </p:sldIdLst>
  <p:sldSz cx="13003213" cy="9747250"/>
  <p:notesSz cx="7559675" cy="10691813"/>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loop="1" showNarration="1">
    <p:present/>
    <p:sldAll/>
    <p:penClr>
      <a:srgbClr val="FF0000"/>
    </p:penClr>
  </p:showPr>
  <p:extLst>
    <p:ext uri="{E76CE94A-603C-4142-B9EB-6D1370010A27}">
      <p14:discardImageEditData xmlns:p14="http://schemas.microsoft.com/office/powerpoint/2010/main" xmlns="" val="0"/>
    </p:ext>
    <p:ext uri="{D31A062A-798A-4329-ABDD-BBA856620510}">
      <p14:defaultImageDpi xmlns:p14="http://schemas.microsoft.com/office/powerpoint/2010/main" xmlns=""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snapToObjects="1" showGuides="1">
      <p:cViewPr varScale="1">
        <p:scale>
          <a:sx n="52" d="100"/>
          <a:sy n="52" d="100"/>
        </p:scale>
        <p:origin x="-1044" y="-90"/>
      </p:cViewPr>
      <p:guideLst>
        <p:guide orient="horz" pos="3070"/>
        <p:guide pos="4095"/>
      </p:guideLst>
    </p:cSldViewPr>
  </p:slideViewPr>
  <p:notesTextViewPr>
    <p:cViewPr>
      <p:scale>
        <a:sx n="100" d="100"/>
        <a:sy n="100" d="100"/>
      </p:scale>
      <p:origin x="0" y="0"/>
    </p:cViewPr>
  </p:notesText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theme" Target="theme/theme1.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276600" cy="5349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4281488" y="0"/>
            <a:ext cx="3276600" cy="534988"/>
          </a:xfrm>
          <a:prstGeom prst="rect">
            <a:avLst/>
          </a:prstGeom>
        </p:spPr>
        <p:txBody>
          <a:bodyPr vert="horz" lIns="91440" tIns="45720" rIns="91440" bIns="45720" rtlCol="0"/>
          <a:lstStyle>
            <a:lvl1pPr algn="r">
              <a:defRPr sz="1200"/>
            </a:lvl1pPr>
          </a:lstStyle>
          <a:p>
            <a:fld id="{A74F125C-BF22-4917-83EB-C406EBDA257E}" type="datetimeFigureOut">
              <a:rPr lang="en-US" smtClean="0"/>
              <a:pPr/>
              <a:t>3/21/2013</a:t>
            </a:fld>
            <a:endParaRPr lang="en-US"/>
          </a:p>
        </p:txBody>
      </p:sp>
      <p:sp>
        <p:nvSpPr>
          <p:cNvPr id="4" name="Slide Image Placeholder 3"/>
          <p:cNvSpPr>
            <a:spLocks noGrp="1" noRot="1" noChangeAspect="1"/>
          </p:cNvSpPr>
          <p:nvPr>
            <p:ph type="sldImg" idx="2"/>
          </p:nvPr>
        </p:nvSpPr>
        <p:spPr>
          <a:xfrm>
            <a:off x="1106488" y="801688"/>
            <a:ext cx="5346700" cy="401002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755650" y="5078413"/>
            <a:ext cx="6048375" cy="4811712"/>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10155238"/>
            <a:ext cx="3276600" cy="5349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4281488" y="10155238"/>
            <a:ext cx="3276600" cy="534987"/>
          </a:xfrm>
          <a:prstGeom prst="rect">
            <a:avLst/>
          </a:prstGeom>
        </p:spPr>
        <p:txBody>
          <a:bodyPr vert="horz" lIns="91440" tIns="45720" rIns="91440" bIns="45720" rtlCol="0" anchor="b"/>
          <a:lstStyle>
            <a:lvl1pPr algn="r">
              <a:defRPr sz="1200"/>
            </a:lvl1pPr>
          </a:lstStyle>
          <a:p>
            <a:fld id="{E21BF0E3-AD13-4DB6-82C6-15DDDCBC4598}" type="slidenum">
              <a:rPr lang="en-US" smtClean="0"/>
              <a:pPr/>
              <a:t>‹#›</a:t>
            </a:fld>
            <a:endParaRPr 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E21BF0E3-AD13-4DB6-82C6-15DDDCBC4598}" type="slidenum">
              <a:rPr lang="en-US" smtClean="0"/>
              <a:pPr/>
              <a:t>9</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blank" preserve="1">
  <p:cSld name="Blank Slide">
    <p:spTree>
      <p:nvGrpSpPr>
        <p:cNvPr id="1" name=""/>
        <p:cNvGrpSpPr/>
        <p:nvPr/>
      </p:nvGrpSpPr>
      <p:grpSpPr>
        <a:xfrm>
          <a:off x="0" y="0"/>
          <a:ext cx="0" cy="0"/>
          <a:chOff x="0" y="0"/>
          <a:chExt cx="0" cy="0"/>
        </a:xfrm>
      </p:grpSpPr>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OverTx" preserve="1">
  <p:cSld name="Title, Content over Content">
    <p:spTree>
      <p:nvGrpSpPr>
        <p:cNvPr id="1" name=""/>
        <p:cNvGrpSpPr/>
        <p:nvPr/>
      </p:nvGrpSpPr>
      <p:grpSpPr>
        <a:xfrm>
          <a:off x="0" y="0"/>
          <a:ext cx="0" cy="0"/>
          <a:chOff x="0" y="0"/>
          <a:chExt cx="0" cy="0"/>
        </a:xfrm>
      </p:grpSpPr>
      <p:sp>
        <p:nvSpPr>
          <p:cNvPr id="23" name="PlaceHolder 1"/>
          <p:cNvSpPr>
            <a:spLocks noGrp="1"/>
          </p:cNvSpPr>
          <p:nvPr>
            <p:ph type="title"/>
          </p:nvPr>
        </p:nvSpPr>
        <p:spPr>
          <a:xfrm>
            <a:off x="975240" y="3027960"/>
            <a:ext cx="11052000" cy="2089440"/>
          </a:xfrm>
          <a:prstGeom prst="rect">
            <a:avLst/>
          </a:prstGeom>
        </p:spPr>
        <p:txBody>
          <a:bodyPr wrap="none" lIns="0" tIns="0" rIns="0" bIns="0" anchor="ctr"/>
          <a:lstStyle/>
          <a:p>
            <a:pPr algn="ctr"/>
            <a:endParaRPr/>
          </a:p>
        </p:txBody>
      </p:sp>
      <p:sp>
        <p:nvSpPr>
          <p:cNvPr id="24" name="PlaceHolder 2"/>
          <p:cNvSpPr>
            <a:spLocks noGrp="1"/>
          </p:cNvSpPr>
          <p:nvPr>
            <p:ph type="body"/>
          </p:nvPr>
        </p:nvSpPr>
        <p:spPr>
          <a:xfrm>
            <a:off x="650160" y="2280600"/>
            <a:ext cx="11442240" cy="2696040"/>
          </a:xfrm>
          <a:prstGeom prst="rect">
            <a:avLst/>
          </a:prstGeom>
        </p:spPr>
        <p:txBody>
          <a:bodyPr wrap="none" lIns="0" tIns="0" rIns="0" bIns="0"/>
          <a:lstStyle/>
          <a:p>
            <a:endParaRPr/>
          </a:p>
        </p:txBody>
      </p:sp>
      <p:sp>
        <p:nvSpPr>
          <p:cNvPr id="25" name="PlaceHolder 3"/>
          <p:cNvSpPr>
            <a:spLocks noGrp="1"/>
          </p:cNvSpPr>
          <p:nvPr>
            <p:ph type="body"/>
          </p:nvPr>
        </p:nvSpPr>
        <p:spPr>
          <a:xfrm>
            <a:off x="650160" y="5232960"/>
            <a:ext cx="11442240" cy="2696040"/>
          </a:xfrm>
          <a:prstGeom prst="rect">
            <a:avLst/>
          </a:prstGeom>
        </p:spPr>
        <p:txBody>
          <a:bodyPr wrap="none" lIns="0" tIns="0" rIns="0" bIns="0"/>
          <a:lstStyle/>
          <a:p>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fourObj" preserve="1">
  <p:cSld name="Title, 4 Content">
    <p:spTree>
      <p:nvGrpSpPr>
        <p:cNvPr id="1" name=""/>
        <p:cNvGrpSpPr/>
        <p:nvPr/>
      </p:nvGrpSpPr>
      <p:grpSpPr>
        <a:xfrm>
          <a:off x="0" y="0"/>
          <a:ext cx="0" cy="0"/>
          <a:chOff x="0" y="0"/>
          <a:chExt cx="0" cy="0"/>
        </a:xfrm>
      </p:grpSpPr>
      <p:sp>
        <p:nvSpPr>
          <p:cNvPr id="26" name="PlaceHolder 1"/>
          <p:cNvSpPr>
            <a:spLocks noGrp="1"/>
          </p:cNvSpPr>
          <p:nvPr>
            <p:ph type="title"/>
          </p:nvPr>
        </p:nvSpPr>
        <p:spPr>
          <a:xfrm>
            <a:off x="975240" y="3027960"/>
            <a:ext cx="11052000" cy="2089440"/>
          </a:xfrm>
          <a:prstGeom prst="rect">
            <a:avLst/>
          </a:prstGeom>
        </p:spPr>
        <p:txBody>
          <a:bodyPr wrap="none" lIns="0" tIns="0" rIns="0" bIns="0" anchor="ctr"/>
          <a:lstStyle/>
          <a:p>
            <a:pPr algn="ctr"/>
            <a:endParaRPr/>
          </a:p>
        </p:txBody>
      </p:sp>
      <p:sp>
        <p:nvSpPr>
          <p:cNvPr id="27" name="PlaceHolder 2"/>
          <p:cNvSpPr>
            <a:spLocks noGrp="1"/>
          </p:cNvSpPr>
          <p:nvPr>
            <p:ph type="body"/>
          </p:nvPr>
        </p:nvSpPr>
        <p:spPr>
          <a:xfrm>
            <a:off x="650160" y="2280600"/>
            <a:ext cx="5583600" cy="2696040"/>
          </a:xfrm>
          <a:prstGeom prst="rect">
            <a:avLst/>
          </a:prstGeom>
        </p:spPr>
        <p:txBody>
          <a:bodyPr wrap="none" lIns="0" tIns="0" rIns="0" bIns="0"/>
          <a:lstStyle/>
          <a:p>
            <a:endParaRPr/>
          </a:p>
        </p:txBody>
      </p:sp>
      <p:sp>
        <p:nvSpPr>
          <p:cNvPr id="28" name="PlaceHolder 3"/>
          <p:cNvSpPr>
            <a:spLocks noGrp="1"/>
          </p:cNvSpPr>
          <p:nvPr>
            <p:ph type="body"/>
          </p:nvPr>
        </p:nvSpPr>
        <p:spPr>
          <a:xfrm>
            <a:off x="6513120" y="2280600"/>
            <a:ext cx="5583600" cy="2696040"/>
          </a:xfrm>
          <a:prstGeom prst="rect">
            <a:avLst/>
          </a:prstGeom>
        </p:spPr>
        <p:txBody>
          <a:bodyPr wrap="none" lIns="0" tIns="0" rIns="0" bIns="0"/>
          <a:lstStyle/>
          <a:p>
            <a:endParaRPr/>
          </a:p>
        </p:txBody>
      </p:sp>
      <p:sp>
        <p:nvSpPr>
          <p:cNvPr id="29" name="PlaceHolder 4"/>
          <p:cNvSpPr>
            <a:spLocks noGrp="1"/>
          </p:cNvSpPr>
          <p:nvPr>
            <p:ph type="body"/>
          </p:nvPr>
        </p:nvSpPr>
        <p:spPr>
          <a:xfrm>
            <a:off x="6513120" y="5232960"/>
            <a:ext cx="5583600" cy="2696040"/>
          </a:xfrm>
          <a:prstGeom prst="rect">
            <a:avLst/>
          </a:prstGeom>
        </p:spPr>
        <p:txBody>
          <a:bodyPr wrap="none" lIns="0" tIns="0" rIns="0" bIns="0"/>
          <a:lstStyle/>
          <a:p>
            <a:endParaRPr/>
          </a:p>
        </p:txBody>
      </p:sp>
      <p:sp>
        <p:nvSpPr>
          <p:cNvPr id="30" name="PlaceHolder 5"/>
          <p:cNvSpPr>
            <a:spLocks noGrp="1"/>
          </p:cNvSpPr>
          <p:nvPr>
            <p:ph type="body"/>
          </p:nvPr>
        </p:nvSpPr>
        <p:spPr>
          <a:xfrm>
            <a:off x="650160" y="5232960"/>
            <a:ext cx="5583600" cy="2696040"/>
          </a:xfrm>
          <a:prstGeom prst="rect">
            <a:avLst/>
          </a:prstGeom>
        </p:spPr>
        <p:txBody>
          <a:bodyPr wrap="none" lIns="0" tIns="0" rIns="0" bIns="0"/>
          <a:lstStyle/>
          <a:p>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Title, 6 Content">
    <p:spTree>
      <p:nvGrpSpPr>
        <p:cNvPr id="1" name=""/>
        <p:cNvGrpSpPr/>
        <p:nvPr/>
      </p:nvGrpSpPr>
      <p:grpSpPr>
        <a:xfrm>
          <a:off x="0" y="0"/>
          <a:ext cx="0" cy="0"/>
          <a:chOff x="0" y="0"/>
          <a:chExt cx="0" cy="0"/>
        </a:xfrm>
      </p:grpSpPr>
      <p:sp>
        <p:nvSpPr>
          <p:cNvPr id="31" name="PlaceHolder 1"/>
          <p:cNvSpPr>
            <a:spLocks noGrp="1"/>
          </p:cNvSpPr>
          <p:nvPr>
            <p:ph type="title"/>
          </p:nvPr>
        </p:nvSpPr>
        <p:spPr>
          <a:xfrm>
            <a:off x="975240" y="3027960"/>
            <a:ext cx="11052000" cy="2089440"/>
          </a:xfrm>
          <a:prstGeom prst="rect">
            <a:avLst/>
          </a:prstGeom>
        </p:spPr>
        <p:txBody>
          <a:bodyPr wrap="none" lIns="0" tIns="0" rIns="0" bIns="0" anchor="ctr"/>
          <a:lstStyle/>
          <a:p>
            <a:pPr algn="ctr"/>
            <a:endParaRPr/>
          </a:p>
        </p:txBody>
      </p:sp>
      <p:sp>
        <p:nvSpPr>
          <p:cNvPr id="32" name="PlaceHolder 2"/>
          <p:cNvSpPr>
            <a:spLocks noGrp="1"/>
          </p:cNvSpPr>
          <p:nvPr>
            <p:ph type="body"/>
          </p:nvPr>
        </p:nvSpPr>
        <p:spPr>
          <a:xfrm>
            <a:off x="650160" y="2280600"/>
            <a:ext cx="5583600" cy="2696040"/>
          </a:xfrm>
          <a:prstGeom prst="rect">
            <a:avLst/>
          </a:prstGeom>
        </p:spPr>
        <p:txBody>
          <a:bodyPr wrap="none" lIns="0" tIns="0" rIns="0" bIns="0"/>
          <a:lstStyle/>
          <a:p>
            <a:endParaRPr/>
          </a:p>
        </p:txBody>
      </p:sp>
      <p:sp>
        <p:nvSpPr>
          <p:cNvPr id="33" name="PlaceHolder 3"/>
          <p:cNvSpPr>
            <a:spLocks noGrp="1"/>
          </p:cNvSpPr>
          <p:nvPr>
            <p:ph type="body"/>
          </p:nvPr>
        </p:nvSpPr>
        <p:spPr>
          <a:xfrm>
            <a:off x="6513120" y="2280600"/>
            <a:ext cx="5583600" cy="2696040"/>
          </a:xfrm>
          <a:prstGeom prst="rect">
            <a:avLst/>
          </a:prstGeom>
        </p:spPr>
        <p:txBody>
          <a:bodyPr wrap="none" lIns="0" tIns="0" rIns="0" bIns="0"/>
          <a:lstStyle/>
          <a:p>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x" preserve="1">
  <p:cSld name="Title Slide">
    <p:spTree>
      <p:nvGrpSpPr>
        <p:cNvPr id="1" name=""/>
        <p:cNvGrpSpPr/>
        <p:nvPr/>
      </p:nvGrpSpPr>
      <p:grpSpPr>
        <a:xfrm>
          <a:off x="0" y="0"/>
          <a:ext cx="0" cy="0"/>
          <a:chOff x="0" y="0"/>
          <a:chExt cx="0" cy="0"/>
        </a:xfrm>
      </p:grpSpPr>
      <p:sp>
        <p:nvSpPr>
          <p:cNvPr id="2" name="PlaceHolder 1"/>
          <p:cNvSpPr>
            <a:spLocks noGrp="1"/>
          </p:cNvSpPr>
          <p:nvPr>
            <p:ph type="title"/>
          </p:nvPr>
        </p:nvSpPr>
        <p:spPr>
          <a:xfrm>
            <a:off x="975240" y="3027960"/>
            <a:ext cx="11052000" cy="2089440"/>
          </a:xfrm>
          <a:prstGeom prst="rect">
            <a:avLst/>
          </a:prstGeom>
        </p:spPr>
        <p:txBody>
          <a:bodyPr wrap="none" lIns="0" tIns="0" rIns="0" bIns="0" anchor="ctr"/>
          <a:lstStyle/>
          <a:p>
            <a:pPr algn="ctr"/>
            <a:endParaRPr/>
          </a:p>
        </p:txBody>
      </p:sp>
      <p:sp>
        <p:nvSpPr>
          <p:cNvPr id="3" name="PlaceHolder 2"/>
          <p:cNvSpPr>
            <a:spLocks noGrp="1"/>
          </p:cNvSpPr>
          <p:nvPr>
            <p:ph type="subTitle"/>
          </p:nvPr>
        </p:nvSpPr>
        <p:spPr>
          <a:xfrm>
            <a:off x="650160" y="2280600"/>
            <a:ext cx="11442240" cy="5653440"/>
          </a:xfrm>
          <a:prstGeom prst="rect">
            <a:avLst/>
          </a:prstGeom>
        </p:spPr>
        <p:txBody>
          <a:bodyPr wrap="none" lIns="0" tIns="0" rIns="0" bIns="0" anchor="ctr"/>
          <a:lstStyle/>
          <a:p>
            <a:pPr algn="ctr"/>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Content">
    <p:spTree>
      <p:nvGrpSpPr>
        <p:cNvPr id="1" name=""/>
        <p:cNvGrpSpPr/>
        <p:nvPr/>
      </p:nvGrpSpPr>
      <p:grpSpPr>
        <a:xfrm>
          <a:off x="0" y="0"/>
          <a:ext cx="0" cy="0"/>
          <a:chOff x="0" y="0"/>
          <a:chExt cx="0" cy="0"/>
        </a:xfrm>
      </p:grpSpPr>
      <p:sp>
        <p:nvSpPr>
          <p:cNvPr id="4" name="PlaceHolder 1"/>
          <p:cNvSpPr>
            <a:spLocks noGrp="1"/>
          </p:cNvSpPr>
          <p:nvPr>
            <p:ph type="title"/>
          </p:nvPr>
        </p:nvSpPr>
        <p:spPr>
          <a:xfrm>
            <a:off x="975240" y="3027960"/>
            <a:ext cx="11052000" cy="2089440"/>
          </a:xfrm>
          <a:prstGeom prst="rect">
            <a:avLst/>
          </a:prstGeom>
        </p:spPr>
        <p:txBody>
          <a:bodyPr wrap="none" lIns="0" tIns="0" rIns="0" bIns="0" anchor="ctr"/>
          <a:lstStyle/>
          <a:p>
            <a:pPr algn="ctr"/>
            <a:endParaRPr/>
          </a:p>
        </p:txBody>
      </p:sp>
      <p:sp>
        <p:nvSpPr>
          <p:cNvPr id="5" name="PlaceHolder 2"/>
          <p:cNvSpPr>
            <a:spLocks noGrp="1"/>
          </p:cNvSpPr>
          <p:nvPr>
            <p:ph type="body"/>
          </p:nvPr>
        </p:nvSpPr>
        <p:spPr>
          <a:xfrm>
            <a:off x="650160" y="2280600"/>
            <a:ext cx="11442240" cy="5653080"/>
          </a:xfrm>
          <a:prstGeom prst="rect">
            <a:avLst/>
          </a:prstGeom>
        </p:spPr>
        <p:txBody>
          <a:bodyPr wrap="none" lIns="0" tIns="0" rIns="0" bIns="0"/>
          <a:lstStyle/>
          <a:p>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itle, 2 Content">
    <p:spTree>
      <p:nvGrpSpPr>
        <p:cNvPr id="1" name=""/>
        <p:cNvGrpSpPr/>
        <p:nvPr/>
      </p:nvGrpSpPr>
      <p:grpSpPr>
        <a:xfrm>
          <a:off x="0" y="0"/>
          <a:ext cx="0" cy="0"/>
          <a:chOff x="0" y="0"/>
          <a:chExt cx="0" cy="0"/>
        </a:xfrm>
      </p:grpSpPr>
      <p:sp>
        <p:nvSpPr>
          <p:cNvPr id="6" name="PlaceHolder 1"/>
          <p:cNvSpPr>
            <a:spLocks noGrp="1"/>
          </p:cNvSpPr>
          <p:nvPr>
            <p:ph type="title"/>
          </p:nvPr>
        </p:nvSpPr>
        <p:spPr>
          <a:xfrm>
            <a:off x="975240" y="3027960"/>
            <a:ext cx="11052000" cy="2089440"/>
          </a:xfrm>
          <a:prstGeom prst="rect">
            <a:avLst/>
          </a:prstGeom>
        </p:spPr>
        <p:txBody>
          <a:bodyPr wrap="none" lIns="0" tIns="0" rIns="0" bIns="0" anchor="ctr"/>
          <a:lstStyle/>
          <a:p>
            <a:pPr algn="ctr"/>
            <a:endParaRPr/>
          </a:p>
        </p:txBody>
      </p:sp>
      <p:sp>
        <p:nvSpPr>
          <p:cNvPr id="7" name="PlaceHolder 2"/>
          <p:cNvSpPr>
            <a:spLocks noGrp="1"/>
          </p:cNvSpPr>
          <p:nvPr>
            <p:ph type="body"/>
          </p:nvPr>
        </p:nvSpPr>
        <p:spPr>
          <a:xfrm>
            <a:off x="650160" y="2280600"/>
            <a:ext cx="5583600" cy="5653080"/>
          </a:xfrm>
          <a:prstGeom prst="rect">
            <a:avLst/>
          </a:prstGeom>
        </p:spPr>
        <p:txBody>
          <a:bodyPr wrap="none" lIns="0" tIns="0" rIns="0" bIns="0"/>
          <a:lstStyle/>
          <a:p>
            <a:endParaRPr/>
          </a:p>
        </p:txBody>
      </p:sp>
      <p:sp>
        <p:nvSpPr>
          <p:cNvPr id="8" name="PlaceHolder 3"/>
          <p:cNvSpPr>
            <a:spLocks noGrp="1"/>
          </p:cNvSpPr>
          <p:nvPr>
            <p:ph type="body"/>
          </p:nvPr>
        </p:nvSpPr>
        <p:spPr>
          <a:xfrm>
            <a:off x="6513120" y="2280600"/>
            <a:ext cx="5583600" cy="5653080"/>
          </a:xfrm>
          <a:prstGeom prst="rect">
            <a:avLst/>
          </a:prstGeom>
        </p:spPr>
        <p:txBody>
          <a:bodyPr wrap="none" lIns="0" tIns="0" rIns="0" bIns="0"/>
          <a:lstStyle/>
          <a:p>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9" name="PlaceHolder 1"/>
          <p:cNvSpPr>
            <a:spLocks noGrp="1"/>
          </p:cNvSpPr>
          <p:nvPr>
            <p:ph type="title"/>
          </p:nvPr>
        </p:nvSpPr>
        <p:spPr>
          <a:xfrm>
            <a:off x="975240" y="3027960"/>
            <a:ext cx="11052000" cy="2089440"/>
          </a:xfrm>
          <a:prstGeom prst="rect">
            <a:avLst/>
          </a:prstGeom>
        </p:spPr>
        <p:txBody>
          <a:bodyPr wrap="none" lIns="0" tIns="0" rIns="0" bIns="0" anchor="ctr"/>
          <a:lstStyle/>
          <a:p>
            <a:pPr algn="ctr"/>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Only" preserve="1">
  <p:cSld name="Centered Text">
    <p:spTree>
      <p:nvGrpSpPr>
        <p:cNvPr id="1" name=""/>
        <p:cNvGrpSpPr/>
        <p:nvPr/>
      </p:nvGrpSpPr>
      <p:grpSpPr>
        <a:xfrm>
          <a:off x="0" y="0"/>
          <a:ext cx="0" cy="0"/>
          <a:chOff x="0" y="0"/>
          <a:chExt cx="0" cy="0"/>
        </a:xfrm>
      </p:grpSpPr>
      <p:sp>
        <p:nvSpPr>
          <p:cNvPr id="10" name="PlaceHolder 1"/>
          <p:cNvSpPr>
            <a:spLocks noGrp="1"/>
          </p:cNvSpPr>
          <p:nvPr>
            <p:ph type="subTitle"/>
          </p:nvPr>
        </p:nvSpPr>
        <p:spPr>
          <a:xfrm>
            <a:off x="975240" y="3027960"/>
            <a:ext cx="11052000" cy="4905720"/>
          </a:xfrm>
          <a:prstGeom prst="rect">
            <a:avLst/>
          </a:prstGeom>
        </p:spPr>
        <p:txBody>
          <a:bodyPr wrap="none" lIns="0" tIns="0" rIns="0" bIns="0" anchor="ctr"/>
          <a:lstStyle/>
          <a:p>
            <a:pPr algn="ctr"/>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AndObj" preserve="1">
  <p:cSld name="Title, 2 Content and Content">
    <p:spTree>
      <p:nvGrpSpPr>
        <p:cNvPr id="1" name=""/>
        <p:cNvGrpSpPr/>
        <p:nvPr/>
      </p:nvGrpSpPr>
      <p:grpSpPr>
        <a:xfrm>
          <a:off x="0" y="0"/>
          <a:ext cx="0" cy="0"/>
          <a:chOff x="0" y="0"/>
          <a:chExt cx="0" cy="0"/>
        </a:xfrm>
      </p:grpSpPr>
      <p:sp>
        <p:nvSpPr>
          <p:cNvPr id="11" name="PlaceHolder 1"/>
          <p:cNvSpPr>
            <a:spLocks noGrp="1"/>
          </p:cNvSpPr>
          <p:nvPr>
            <p:ph type="title"/>
          </p:nvPr>
        </p:nvSpPr>
        <p:spPr>
          <a:xfrm>
            <a:off x="975240" y="3027960"/>
            <a:ext cx="11052000" cy="2089440"/>
          </a:xfrm>
          <a:prstGeom prst="rect">
            <a:avLst/>
          </a:prstGeom>
        </p:spPr>
        <p:txBody>
          <a:bodyPr wrap="none" lIns="0" tIns="0" rIns="0" bIns="0" anchor="ctr"/>
          <a:lstStyle/>
          <a:p>
            <a:pPr algn="ctr"/>
            <a:endParaRPr/>
          </a:p>
        </p:txBody>
      </p:sp>
      <p:sp>
        <p:nvSpPr>
          <p:cNvPr id="12" name="PlaceHolder 2"/>
          <p:cNvSpPr>
            <a:spLocks noGrp="1"/>
          </p:cNvSpPr>
          <p:nvPr>
            <p:ph type="body"/>
          </p:nvPr>
        </p:nvSpPr>
        <p:spPr>
          <a:xfrm>
            <a:off x="650160" y="2280600"/>
            <a:ext cx="5583600" cy="2696040"/>
          </a:xfrm>
          <a:prstGeom prst="rect">
            <a:avLst/>
          </a:prstGeom>
        </p:spPr>
        <p:txBody>
          <a:bodyPr wrap="none" lIns="0" tIns="0" rIns="0" bIns="0"/>
          <a:lstStyle/>
          <a:p>
            <a:endParaRPr/>
          </a:p>
        </p:txBody>
      </p:sp>
      <p:sp>
        <p:nvSpPr>
          <p:cNvPr id="13" name="PlaceHolder 3"/>
          <p:cNvSpPr>
            <a:spLocks noGrp="1"/>
          </p:cNvSpPr>
          <p:nvPr>
            <p:ph type="body"/>
          </p:nvPr>
        </p:nvSpPr>
        <p:spPr>
          <a:xfrm>
            <a:off x="650160" y="5232960"/>
            <a:ext cx="5583600" cy="2696040"/>
          </a:xfrm>
          <a:prstGeom prst="rect">
            <a:avLst/>
          </a:prstGeom>
        </p:spPr>
        <p:txBody>
          <a:bodyPr wrap="none" lIns="0" tIns="0" rIns="0" bIns="0"/>
          <a:lstStyle/>
          <a:p>
            <a:endParaRPr/>
          </a:p>
        </p:txBody>
      </p:sp>
      <p:sp>
        <p:nvSpPr>
          <p:cNvPr id="14" name="PlaceHolder 4"/>
          <p:cNvSpPr>
            <a:spLocks noGrp="1"/>
          </p:cNvSpPr>
          <p:nvPr>
            <p:ph type="body"/>
          </p:nvPr>
        </p:nvSpPr>
        <p:spPr>
          <a:xfrm>
            <a:off x="6513120" y="2280600"/>
            <a:ext cx="5583600" cy="5653080"/>
          </a:xfrm>
          <a:prstGeom prst="rect">
            <a:avLst/>
          </a:prstGeom>
        </p:spPr>
        <p:txBody>
          <a:bodyPr wrap="none" lIns="0" tIns="0" rIns="0" bIns="0"/>
          <a:lstStyle/>
          <a:p>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15" name="PlaceHolder 1"/>
          <p:cNvSpPr>
            <a:spLocks noGrp="1"/>
          </p:cNvSpPr>
          <p:nvPr>
            <p:ph type="title"/>
          </p:nvPr>
        </p:nvSpPr>
        <p:spPr>
          <a:xfrm>
            <a:off x="975240" y="3027960"/>
            <a:ext cx="11052000" cy="2089440"/>
          </a:xfrm>
          <a:prstGeom prst="rect">
            <a:avLst/>
          </a:prstGeom>
        </p:spPr>
        <p:txBody>
          <a:bodyPr wrap="none" lIns="0" tIns="0" rIns="0" bIns="0" anchor="ctr"/>
          <a:lstStyle/>
          <a:p>
            <a:pPr algn="ctr"/>
            <a:endParaRPr/>
          </a:p>
        </p:txBody>
      </p:sp>
      <p:sp>
        <p:nvSpPr>
          <p:cNvPr id="16" name="PlaceHolder 2"/>
          <p:cNvSpPr>
            <a:spLocks noGrp="1"/>
          </p:cNvSpPr>
          <p:nvPr>
            <p:ph type="body"/>
          </p:nvPr>
        </p:nvSpPr>
        <p:spPr>
          <a:xfrm>
            <a:off x="650160" y="2280600"/>
            <a:ext cx="5583600" cy="5653080"/>
          </a:xfrm>
          <a:prstGeom prst="rect">
            <a:avLst/>
          </a:prstGeom>
        </p:spPr>
        <p:txBody>
          <a:bodyPr wrap="none" lIns="0" tIns="0" rIns="0" bIns="0"/>
          <a:lstStyle/>
          <a:p>
            <a:endParaRPr/>
          </a:p>
        </p:txBody>
      </p:sp>
      <p:sp>
        <p:nvSpPr>
          <p:cNvPr id="17" name="PlaceHolder 3"/>
          <p:cNvSpPr>
            <a:spLocks noGrp="1"/>
          </p:cNvSpPr>
          <p:nvPr>
            <p:ph type="body"/>
          </p:nvPr>
        </p:nvSpPr>
        <p:spPr>
          <a:xfrm>
            <a:off x="6513120" y="2280600"/>
            <a:ext cx="5583600" cy="2696040"/>
          </a:xfrm>
          <a:prstGeom prst="rect">
            <a:avLst/>
          </a:prstGeom>
        </p:spPr>
        <p:txBody>
          <a:bodyPr wrap="none" lIns="0" tIns="0" rIns="0" bIns="0"/>
          <a:lstStyle/>
          <a:p>
            <a:endParaRPr/>
          </a:p>
        </p:txBody>
      </p:sp>
      <p:sp>
        <p:nvSpPr>
          <p:cNvPr id="18" name="PlaceHolder 4"/>
          <p:cNvSpPr>
            <a:spLocks noGrp="1"/>
          </p:cNvSpPr>
          <p:nvPr>
            <p:ph type="body"/>
          </p:nvPr>
        </p:nvSpPr>
        <p:spPr>
          <a:xfrm>
            <a:off x="6513120" y="5232960"/>
            <a:ext cx="5583600" cy="2696040"/>
          </a:xfrm>
          <a:prstGeom prst="rect">
            <a:avLst/>
          </a:prstGeom>
        </p:spPr>
        <p:txBody>
          <a:bodyPr wrap="none" lIns="0" tIns="0" rIns="0" bIns="0"/>
          <a:lstStyle/>
          <a:p>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OverTx" preserve="1">
  <p:cSld name="Title, 2 Content over Content">
    <p:spTree>
      <p:nvGrpSpPr>
        <p:cNvPr id="1" name=""/>
        <p:cNvGrpSpPr/>
        <p:nvPr/>
      </p:nvGrpSpPr>
      <p:grpSpPr>
        <a:xfrm>
          <a:off x="0" y="0"/>
          <a:ext cx="0" cy="0"/>
          <a:chOff x="0" y="0"/>
          <a:chExt cx="0" cy="0"/>
        </a:xfrm>
      </p:grpSpPr>
      <p:sp>
        <p:nvSpPr>
          <p:cNvPr id="19" name="PlaceHolder 1"/>
          <p:cNvSpPr>
            <a:spLocks noGrp="1"/>
          </p:cNvSpPr>
          <p:nvPr>
            <p:ph type="title"/>
          </p:nvPr>
        </p:nvSpPr>
        <p:spPr>
          <a:xfrm>
            <a:off x="975240" y="3027960"/>
            <a:ext cx="11052000" cy="2089440"/>
          </a:xfrm>
          <a:prstGeom prst="rect">
            <a:avLst/>
          </a:prstGeom>
        </p:spPr>
        <p:txBody>
          <a:bodyPr wrap="none" lIns="0" tIns="0" rIns="0" bIns="0" anchor="ctr"/>
          <a:lstStyle/>
          <a:p>
            <a:pPr algn="ctr"/>
            <a:endParaRPr/>
          </a:p>
        </p:txBody>
      </p:sp>
      <p:sp>
        <p:nvSpPr>
          <p:cNvPr id="20" name="PlaceHolder 2"/>
          <p:cNvSpPr>
            <a:spLocks noGrp="1"/>
          </p:cNvSpPr>
          <p:nvPr>
            <p:ph type="body"/>
          </p:nvPr>
        </p:nvSpPr>
        <p:spPr>
          <a:xfrm>
            <a:off x="650160" y="2280600"/>
            <a:ext cx="5583600" cy="2696040"/>
          </a:xfrm>
          <a:prstGeom prst="rect">
            <a:avLst/>
          </a:prstGeom>
        </p:spPr>
        <p:txBody>
          <a:bodyPr wrap="none" lIns="0" tIns="0" rIns="0" bIns="0"/>
          <a:lstStyle/>
          <a:p>
            <a:endParaRPr/>
          </a:p>
        </p:txBody>
      </p:sp>
      <p:sp>
        <p:nvSpPr>
          <p:cNvPr id="21" name="PlaceHolder 3"/>
          <p:cNvSpPr>
            <a:spLocks noGrp="1"/>
          </p:cNvSpPr>
          <p:nvPr>
            <p:ph type="body"/>
          </p:nvPr>
        </p:nvSpPr>
        <p:spPr>
          <a:xfrm>
            <a:off x="6513120" y="2280600"/>
            <a:ext cx="5583600" cy="2696040"/>
          </a:xfrm>
          <a:prstGeom prst="rect">
            <a:avLst/>
          </a:prstGeom>
        </p:spPr>
        <p:txBody>
          <a:bodyPr wrap="none" lIns="0" tIns="0" rIns="0" bIns="0"/>
          <a:lstStyle/>
          <a:p>
            <a:endParaRPr/>
          </a:p>
        </p:txBody>
      </p:sp>
      <p:sp>
        <p:nvSpPr>
          <p:cNvPr id="22" name="PlaceHolder 4"/>
          <p:cNvSpPr>
            <a:spLocks noGrp="1"/>
          </p:cNvSpPr>
          <p:nvPr>
            <p:ph type="body"/>
          </p:nvPr>
        </p:nvSpPr>
        <p:spPr>
          <a:xfrm>
            <a:off x="650160" y="5232960"/>
            <a:ext cx="11441880" cy="2696040"/>
          </a:xfrm>
          <a:prstGeom prst="rect">
            <a:avLst/>
          </a:prstGeom>
        </p:spPr>
        <p:txBody>
          <a:bodyPr wrap="none" lIns="0" tIns="0" rIns="0" bIns="0"/>
          <a:lstStyle/>
          <a:p>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PlaceHolder 1"/>
          <p:cNvSpPr>
            <a:spLocks noGrp="1"/>
          </p:cNvSpPr>
          <p:nvPr>
            <p:ph type="title"/>
          </p:nvPr>
        </p:nvSpPr>
        <p:spPr>
          <a:xfrm>
            <a:off x="975240" y="3027960"/>
            <a:ext cx="11052000" cy="2089080"/>
          </a:xfrm>
          <a:prstGeom prst="rect">
            <a:avLst/>
          </a:prstGeom>
        </p:spPr>
        <p:txBody>
          <a:bodyPr wrap="none" lIns="0" tIns="0" rIns="0" bIns="0" anchor="ctr"/>
          <a:lstStyle/>
          <a:p>
            <a:r>
              <a:rPr lang="fr-FR"/>
              <a:t>Click to edit the title text format</a:t>
            </a:r>
            <a:endParaRPr/>
          </a:p>
        </p:txBody>
      </p:sp>
      <p:sp>
        <p:nvSpPr>
          <p:cNvPr id="3" name="PlaceHolder 2"/>
          <p:cNvSpPr>
            <a:spLocks noGrp="1"/>
          </p:cNvSpPr>
          <p:nvPr>
            <p:ph type="body"/>
          </p:nvPr>
        </p:nvSpPr>
        <p:spPr>
          <a:xfrm>
            <a:off x="650160" y="2280600"/>
            <a:ext cx="11442240" cy="5653080"/>
          </a:xfrm>
          <a:prstGeom prst="rect">
            <a:avLst/>
          </a:prstGeom>
        </p:spPr>
        <p:txBody>
          <a:bodyPr wrap="none" lIns="0" tIns="0" rIns="0" bIns="0"/>
          <a:lstStyle/>
          <a:p>
            <a:pPr>
              <a:buSzPct val="25000"/>
              <a:buFont typeface="StarSymbol"/>
              <a:buChar char=""/>
            </a:pPr>
            <a:r>
              <a:rPr lang="fr-FR"/>
              <a:t>Click to edit the outline text format</a:t>
            </a:r>
            <a:endParaRPr/>
          </a:p>
          <a:p>
            <a:pPr lvl="1">
              <a:buSzPct val="25000"/>
              <a:buFont typeface="StarSymbol"/>
              <a:buChar char=""/>
            </a:pPr>
            <a:r>
              <a:rPr lang="fr-FR"/>
              <a:t>Second Outline Level</a:t>
            </a:r>
            <a:endParaRPr/>
          </a:p>
          <a:p>
            <a:pPr lvl="2">
              <a:buSzPct val="25000"/>
              <a:buFont typeface="StarSymbol"/>
              <a:buChar char=""/>
            </a:pPr>
            <a:r>
              <a:rPr lang="fr-FR"/>
              <a:t>Third Outline Level</a:t>
            </a:r>
            <a:endParaRPr/>
          </a:p>
          <a:p>
            <a:pPr lvl="3">
              <a:buSzPct val="25000"/>
              <a:buFont typeface="StarSymbol"/>
              <a:buChar char=""/>
            </a:pPr>
            <a:r>
              <a:rPr lang="fr-FR"/>
              <a:t>Fourth Outline Level</a:t>
            </a:r>
            <a:endParaRPr/>
          </a:p>
          <a:p>
            <a:pPr lvl="4">
              <a:buSzPct val="25000"/>
              <a:buFont typeface="StarSymbol"/>
              <a:buChar char=""/>
            </a:pPr>
            <a:r>
              <a:rPr lang="fr-FR"/>
              <a:t>Fifth Outline Level</a:t>
            </a:r>
            <a:endParaRPr/>
          </a:p>
          <a:p>
            <a:pPr lvl="5">
              <a:buSzPct val="25000"/>
              <a:buFont typeface="StarSymbol"/>
              <a:buChar char=""/>
            </a:pPr>
            <a:r>
              <a:rPr lang="fr-FR"/>
              <a:t>Sixth Outline Level</a:t>
            </a:r>
            <a:endParaRPr/>
          </a:p>
          <a:p>
            <a:pPr lvl="6">
              <a:buSzPct val="25000"/>
              <a:buFont typeface="StarSymbol"/>
              <a:buChar char=""/>
            </a:pPr>
            <a:r>
              <a:rPr lang="fr-FR"/>
              <a:t>Seventh Outline Level</a:t>
            </a:r>
            <a:endParaRP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p:bodyStyle/>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tags" Target="../tags/tag2.xml"/><Relationship Id="rId6" Type="http://schemas.openxmlformats.org/officeDocument/2006/relationships/image" Target="../media/image29.png"/><Relationship Id="rId5" Type="http://schemas.openxmlformats.org/officeDocument/2006/relationships/image" Target="../media/image28.jpeg"/><Relationship Id="rId4" Type="http://schemas.openxmlformats.org/officeDocument/2006/relationships/image" Target="../media/image27.emf"/></Relationships>
</file>

<file path=ppt/slides/_rels/slide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png"/><Relationship Id="rId1" Type="http://schemas.openxmlformats.org/officeDocument/2006/relationships/slideLayout" Target="../slideLayouts/slideLayout3.xml"/><Relationship Id="rId6" Type="http://schemas.openxmlformats.org/officeDocument/2006/relationships/image" Target="../media/image7.emf"/><Relationship Id="rId5" Type="http://schemas.openxmlformats.org/officeDocument/2006/relationships/image" Target="../media/image6.emf"/><Relationship Id="rId4" Type="http://schemas.openxmlformats.org/officeDocument/2006/relationships/image" Target="../media/image5.png"/></Relationships>
</file>

<file path=ppt/slides/_rels/slide3.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2.png"/><Relationship Id="rId1" Type="http://schemas.openxmlformats.org/officeDocument/2006/relationships/slideLayout" Target="../slideLayouts/slideLayout2.xml"/><Relationship Id="rId5" Type="http://schemas.openxmlformats.org/officeDocument/2006/relationships/image" Target="../media/image10.jpeg"/><Relationship Id="rId4" Type="http://schemas.openxmlformats.org/officeDocument/2006/relationships/image" Target="../media/image9.jpeg"/></Relationships>
</file>

<file path=ppt/slides/_rels/slide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png"/><Relationship Id="rId1" Type="http://schemas.openxmlformats.org/officeDocument/2006/relationships/slideLayout" Target="../slideLayouts/slideLayout2.xml"/><Relationship Id="rId5" Type="http://schemas.openxmlformats.org/officeDocument/2006/relationships/image" Target="../media/image12.png"/><Relationship Id="rId4" Type="http://schemas.openxmlformats.org/officeDocument/2006/relationships/image" Target="../media/image11.png"/></Relationships>
</file>

<file path=ppt/slides/_rels/slide5.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2.png"/><Relationship Id="rId1" Type="http://schemas.openxmlformats.org/officeDocument/2006/relationships/slideLayout" Target="../slideLayouts/slideLayout2.xml"/><Relationship Id="rId5" Type="http://schemas.openxmlformats.org/officeDocument/2006/relationships/image" Target="../media/image15.png"/><Relationship Id="rId4" Type="http://schemas.openxmlformats.org/officeDocument/2006/relationships/image" Target="../media/image14.png"/></Relationships>
</file>

<file path=ppt/slides/_rels/slide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6.emf"/><Relationship Id="rId1" Type="http://schemas.openxmlformats.org/officeDocument/2006/relationships/slideLayout" Target="../slideLayouts/slideLayout2.xml"/><Relationship Id="rId5" Type="http://schemas.openxmlformats.org/officeDocument/2006/relationships/image" Target="../media/image17.png"/><Relationship Id="rId4" Type="http://schemas.openxmlformats.org/officeDocument/2006/relationships/image" Target="../media/image6.emf"/></Relationships>
</file>

<file path=ppt/slides/_rels/slide7.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13.emf"/><Relationship Id="rId2" Type="http://schemas.openxmlformats.org/officeDocument/2006/relationships/image" Target="../media/image18.png"/><Relationship Id="rId1" Type="http://schemas.openxmlformats.org/officeDocument/2006/relationships/slideLayout" Target="../slideLayouts/slideLayout2.xml"/><Relationship Id="rId6" Type="http://schemas.openxmlformats.org/officeDocument/2006/relationships/image" Target="../media/image21.emf"/><Relationship Id="rId5" Type="http://schemas.openxmlformats.org/officeDocument/2006/relationships/image" Target="../media/image20.emf"/><Relationship Id="rId4" Type="http://schemas.openxmlformats.org/officeDocument/2006/relationships/image" Target="../media/image19.emf"/></Relationships>
</file>

<file path=ppt/slides/_rels/slide8.xml.rels><?xml version="1.0" encoding="UTF-8" standalone="yes"?>
<Relationships xmlns="http://schemas.openxmlformats.org/package/2006/relationships"><Relationship Id="rId3" Type="http://schemas.openxmlformats.org/officeDocument/2006/relationships/image" Target="../media/image13.emf"/><Relationship Id="rId7" Type="http://schemas.openxmlformats.org/officeDocument/2006/relationships/image" Target="../media/image24.jpeg"/><Relationship Id="rId2" Type="http://schemas.openxmlformats.org/officeDocument/2006/relationships/image" Target="../media/image2.png"/><Relationship Id="rId1" Type="http://schemas.openxmlformats.org/officeDocument/2006/relationships/slideLayout" Target="../slideLayouts/slideLayout2.xml"/><Relationship Id="rId6" Type="http://schemas.openxmlformats.org/officeDocument/2006/relationships/image" Target="../media/image23.png"/><Relationship Id="rId5" Type="http://schemas.openxmlformats.org/officeDocument/2006/relationships/image" Target="../media/image22.emf"/><Relationship Id="rId4" Type="http://schemas.openxmlformats.org/officeDocument/2006/relationships/hyperlink" Target="http://www.rackspace.co.uk/" TargetMode="Externa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1.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2" descr="iStock_000003243029Small.jpg"/>
          <p:cNvPicPr>
            <a:picLocks noChangeAspect="1"/>
          </p:cNvPicPr>
          <p:nvPr/>
        </p:nvPicPr>
        <p:blipFill>
          <a:blip r:embed="rId2" cstate="print"/>
          <a:stretch>
            <a:fillRect/>
          </a:stretch>
        </p:blipFill>
        <p:spPr>
          <a:xfrm>
            <a:off x="504034" y="4867425"/>
            <a:ext cx="5157216" cy="2674112"/>
          </a:xfrm>
          <a:prstGeom prst="rect">
            <a:avLst/>
          </a:prstGeom>
        </p:spPr>
      </p:pic>
      <p:sp>
        <p:nvSpPr>
          <p:cNvPr id="19" name="Rectangle 18"/>
          <p:cNvSpPr/>
          <p:nvPr/>
        </p:nvSpPr>
        <p:spPr>
          <a:xfrm>
            <a:off x="0" y="0"/>
            <a:ext cx="11765923" cy="1702795"/>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bg1">
                  <a:lumMod val="95000"/>
                </a:schemeClr>
              </a:solidFill>
            </a:endParaRPr>
          </a:p>
        </p:txBody>
      </p:sp>
      <p:sp>
        <p:nvSpPr>
          <p:cNvPr id="10" name="Rectangle 9"/>
          <p:cNvSpPr/>
          <p:nvPr/>
        </p:nvSpPr>
        <p:spPr>
          <a:xfrm>
            <a:off x="1" y="1752599"/>
            <a:ext cx="13003212" cy="2179321"/>
          </a:xfrm>
          <a:prstGeom prst="rect">
            <a:avLst/>
          </a:prstGeom>
          <a:solidFill>
            <a:srgbClr val="B6261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4" name="Picture 3" descr="openstack-cloud-software-horizontal-cmyk.png"/>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11859874" y="584451"/>
            <a:ext cx="943336" cy="867668"/>
          </a:xfrm>
          <a:prstGeom prst="rect">
            <a:avLst/>
          </a:prstGeom>
        </p:spPr>
      </p:pic>
      <p:sp>
        <p:nvSpPr>
          <p:cNvPr id="5" name="TextBox 4"/>
          <p:cNvSpPr txBox="1"/>
          <p:nvPr/>
        </p:nvSpPr>
        <p:spPr>
          <a:xfrm>
            <a:off x="653955" y="649801"/>
            <a:ext cx="10867485" cy="615553"/>
          </a:xfrm>
          <a:prstGeom prst="rect">
            <a:avLst/>
          </a:prstGeom>
          <a:noFill/>
        </p:spPr>
        <p:txBody>
          <a:bodyPr wrap="square" rtlCol="0">
            <a:spAutoFit/>
          </a:bodyPr>
          <a:lstStyle/>
          <a:p>
            <a:r>
              <a:rPr lang="en-US" sz="3400" b="1" dirty="0" smtClean="0">
                <a:solidFill>
                  <a:schemeClr val="tx1">
                    <a:lumMod val="75000"/>
                    <a:lumOff val="25000"/>
                  </a:schemeClr>
                </a:solidFill>
                <a:latin typeface="Helvetica Neue" charset="0"/>
              </a:rPr>
              <a:t>OpenStack Cloud Platform for the Hosting Industry</a:t>
            </a:r>
            <a:endParaRPr lang="en-US" sz="3400" dirty="0" smtClean="0">
              <a:solidFill>
                <a:schemeClr val="tx1">
                  <a:lumMod val="75000"/>
                  <a:lumOff val="25000"/>
                </a:schemeClr>
              </a:solidFill>
              <a:latin typeface="Helvetica Neue" charset="0"/>
            </a:endParaRPr>
          </a:p>
        </p:txBody>
      </p:sp>
      <p:sp>
        <p:nvSpPr>
          <p:cNvPr id="6" name="Text Box 2"/>
          <p:cNvSpPr txBox="1">
            <a:spLocks noChangeArrowheads="1"/>
          </p:cNvSpPr>
          <p:nvPr/>
        </p:nvSpPr>
        <p:spPr bwMode="auto">
          <a:xfrm>
            <a:off x="5983576" y="6345883"/>
            <a:ext cx="6819634" cy="3217037"/>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808080"/>
                </a:solidFill>
                <a:round/>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50760" tIns="50760" rIns="50760" bIns="50760"/>
          <a:lstStyle>
            <a:lvl1pPr marL="315913" indent="-315913">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1pPr>
            <a:lvl2pPr>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2pPr>
            <a:lvl3pPr>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3pPr>
            <a:lvl4pPr>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4pPr>
            <a:lvl5pPr>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5pPr>
            <a:lvl6pPr marL="2514600" indent="-228600" algn="ctr" fontAlgn="base">
              <a:spcBef>
                <a:spcPct val="0"/>
              </a:spcBef>
              <a:spcAft>
                <a:spcPct val="0"/>
              </a:spcAft>
              <a:buClr>
                <a:srgbClr val="000000"/>
              </a:buClr>
              <a:buSzPct val="100000"/>
              <a:buFont typeface="Times New Roman" charset="0"/>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6pPr>
            <a:lvl7pPr marL="2971800" indent="-228600" algn="ctr" fontAlgn="base">
              <a:spcBef>
                <a:spcPct val="0"/>
              </a:spcBef>
              <a:spcAft>
                <a:spcPct val="0"/>
              </a:spcAft>
              <a:buClr>
                <a:srgbClr val="000000"/>
              </a:buClr>
              <a:buSzPct val="100000"/>
              <a:buFont typeface="Times New Roman" charset="0"/>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7pPr>
            <a:lvl8pPr marL="3429000" indent="-228600" algn="ctr" fontAlgn="base">
              <a:spcBef>
                <a:spcPct val="0"/>
              </a:spcBef>
              <a:spcAft>
                <a:spcPct val="0"/>
              </a:spcAft>
              <a:buClr>
                <a:srgbClr val="000000"/>
              </a:buClr>
              <a:buSzPct val="100000"/>
              <a:buFont typeface="Times New Roman" charset="0"/>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8pPr>
            <a:lvl9pPr marL="3886200" indent="-228600" algn="ctr" fontAlgn="base">
              <a:spcBef>
                <a:spcPct val="0"/>
              </a:spcBef>
              <a:spcAft>
                <a:spcPct val="0"/>
              </a:spcAft>
              <a:buClr>
                <a:srgbClr val="000000"/>
              </a:buClr>
              <a:buSzPct val="100000"/>
              <a:buFont typeface="Times New Roman" charset="0"/>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9pPr>
          </a:lstStyle>
          <a:p>
            <a:pPr>
              <a:spcBef>
                <a:spcPts val="1200"/>
              </a:spcBef>
              <a:buClr>
                <a:srgbClr val="AF1C1C"/>
              </a:buClr>
              <a:buSzPct val="60000"/>
              <a:buFont typeface="Lucida Grande" charset="0"/>
              <a:buChar char="‣"/>
              <a:defRPr/>
            </a:pPr>
            <a:r>
              <a:rPr lang="en-US" sz="2000" dirty="0" smtClean="0">
                <a:solidFill>
                  <a:srgbClr val="404040"/>
                </a:solidFill>
                <a:latin typeface="Helvetica Neue" charset="0"/>
              </a:rPr>
              <a:t>Superior scalability, availability, economics and support</a:t>
            </a:r>
          </a:p>
          <a:p>
            <a:pPr algn="l">
              <a:spcBef>
                <a:spcPts val="1200"/>
              </a:spcBef>
              <a:buClr>
                <a:srgbClr val="AF1C1C"/>
              </a:buClr>
              <a:buSzPct val="60000"/>
              <a:buFont typeface="Lucida Grande" charset="0"/>
              <a:buChar char="‣"/>
              <a:defRPr/>
            </a:pPr>
            <a:r>
              <a:rPr lang="en-US" sz="2000" dirty="0" smtClean="0">
                <a:solidFill>
                  <a:srgbClr val="404040"/>
                </a:solidFill>
                <a:latin typeface="Helvetica Neue" charset="0"/>
              </a:rPr>
              <a:t>Hundreds of public and private cloud hosting companies bet their businesses on OpenStack software</a:t>
            </a:r>
          </a:p>
          <a:p>
            <a:pPr algn="l">
              <a:spcBef>
                <a:spcPts val="1200"/>
              </a:spcBef>
              <a:buClr>
                <a:srgbClr val="AF1C1C"/>
              </a:buClr>
              <a:buSzPct val="60000"/>
              <a:buFont typeface="Lucida Grande" charset="0"/>
              <a:buChar char="‣"/>
              <a:defRPr/>
            </a:pPr>
            <a:r>
              <a:rPr lang="en-US" sz="2000" dirty="0" smtClean="0">
                <a:solidFill>
                  <a:srgbClr val="404040"/>
                </a:solidFill>
                <a:latin typeface="Helvetica Neue" charset="0"/>
              </a:rPr>
              <a:t>Leadership and support from industry notables such as AT&amp;T, Cisco, HP, IBM, Red Hat and SUSE</a:t>
            </a:r>
          </a:p>
          <a:p>
            <a:pPr algn="l">
              <a:spcBef>
                <a:spcPts val="1200"/>
              </a:spcBef>
              <a:buClr>
                <a:srgbClr val="AF1C1C"/>
              </a:buClr>
              <a:buSzPct val="60000"/>
              <a:buFont typeface="Lucida Grande" charset="0"/>
              <a:buChar char="‣"/>
              <a:defRPr/>
            </a:pPr>
            <a:r>
              <a:rPr lang="en-US" sz="2000" dirty="0" smtClean="0">
                <a:solidFill>
                  <a:srgbClr val="404040"/>
                </a:solidFill>
                <a:latin typeface="Helvetica Neue" charset="0"/>
              </a:rPr>
              <a:t>Vibrant community over 8,000 strong; 170+ companies contributing and driving fast-paced </a:t>
            </a:r>
            <a:r>
              <a:rPr lang="en-US" sz="2000" dirty="0" smtClean="0">
                <a:solidFill>
                  <a:srgbClr val="404040"/>
                </a:solidFill>
                <a:latin typeface="Helvetica Neue" charset="0"/>
              </a:rPr>
              <a:t>innovation</a:t>
            </a:r>
            <a:endParaRPr lang="en-US" sz="2000" dirty="0" smtClean="0">
              <a:solidFill>
                <a:srgbClr val="404040"/>
              </a:solidFill>
              <a:latin typeface="Helvetica Neue" charset="0"/>
            </a:endParaRPr>
          </a:p>
        </p:txBody>
      </p:sp>
      <p:sp>
        <p:nvSpPr>
          <p:cNvPr id="8" name="Text Box 2"/>
          <p:cNvSpPr txBox="1">
            <a:spLocks noChangeArrowheads="1"/>
          </p:cNvSpPr>
          <p:nvPr/>
        </p:nvSpPr>
        <p:spPr bwMode="auto">
          <a:xfrm>
            <a:off x="1903548" y="8274030"/>
            <a:ext cx="3178409" cy="466856"/>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808080"/>
                </a:solidFill>
                <a:round/>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50760" tIns="50760" rIns="50760" bIns="50760"/>
          <a:lstStyle>
            <a:lvl1pPr marL="315913" indent="-315913">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1pPr>
            <a:lvl2pPr>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2pPr>
            <a:lvl3pPr>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3pPr>
            <a:lvl4pPr>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4pPr>
            <a:lvl5pPr>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5pPr>
            <a:lvl6pPr marL="2514600" indent="-228600" algn="ctr" fontAlgn="base">
              <a:spcBef>
                <a:spcPct val="0"/>
              </a:spcBef>
              <a:spcAft>
                <a:spcPct val="0"/>
              </a:spcAft>
              <a:buClr>
                <a:srgbClr val="000000"/>
              </a:buClr>
              <a:buSzPct val="100000"/>
              <a:buFont typeface="Times New Roman" charset="0"/>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6pPr>
            <a:lvl7pPr marL="2971800" indent="-228600" algn="ctr" fontAlgn="base">
              <a:spcBef>
                <a:spcPct val="0"/>
              </a:spcBef>
              <a:spcAft>
                <a:spcPct val="0"/>
              </a:spcAft>
              <a:buClr>
                <a:srgbClr val="000000"/>
              </a:buClr>
              <a:buSzPct val="100000"/>
              <a:buFont typeface="Times New Roman" charset="0"/>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7pPr>
            <a:lvl8pPr marL="3429000" indent="-228600" algn="ctr" fontAlgn="base">
              <a:spcBef>
                <a:spcPct val="0"/>
              </a:spcBef>
              <a:spcAft>
                <a:spcPct val="0"/>
              </a:spcAft>
              <a:buClr>
                <a:srgbClr val="000000"/>
              </a:buClr>
              <a:buSzPct val="100000"/>
              <a:buFont typeface="Times New Roman" charset="0"/>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8pPr>
            <a:lvl9pPr marL="3886200" indent="-228600" algn="ctr" fontAlgn="base">
              <a:spcBef>
                <a:spcPct val="0"/>
              </a:spcBef>
              <a:spcAft>
                <a:spcPct val="0"/>
              </a:spcAft>
              <a:buClr>
                <a:srgbClr val="000000"/>
              </a:buClr>
              <a:buSzPct val="100000"/>
              <a:buFont typeface="Times New Roman" charset="0"/>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9pPr>
          </a:lstStyle>
          <a:p>
            <a:pPr marL="0" indent="0">
              <a:spcBef>
                <a:spcPts val="1200"/>
              </a:spcBef>
              <a:buClr>
                <a:srgbClr val="AF1C1C"/>
              </a:buClr>
              <a:buSzPct val="60000"/>
              <a:defRPr/>
            </a:pPr>
            <a:r>
              <a:rPr lang="en-US" sz="1800" dirty="0" smtClean="0">
                <a:solidFill>
                  <a:srgbClr val="646464"/>
                </a:solidFill>
                <a:latin typeface="Helvetica Neue" charset="0"/>
              </a:rPr>
              <a:t>www. OpenStack.org</a:t>
            </a:r>
          </a:p>
        </p:txBody>
      </p:sp>
      <p:sp>
        <p:nvSpPr>
          <p:cNvPr id="11" name="Rectangle 10"/>
          <p:cNvSpPr/>
          <p:nvPr/>
        </p:nvSpPr>
        <p:spPr>
          <a:xfrm>
            <a:off x="653956" y="2159692"/>
            <a:ext cx="11687963" cy="954107"/>
          </a:xfrm>
          <a:prstGeom prst="rect">
            <a:avLst/>
          </a:prstGeom>
        </p:spPr>
        <p:txBody>
          <a:bodyPr wrap="square">
            <a:spAutoFit/>
          </a:bodyPr>
          <a:lstStyle/>
          <a:p>
            <a:pPr>
              <a:buClr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lang="en-US" sz="2800" dirty="0" smtClean="0">
                <a:solidFill>
                  <a:schemeClr val="bg1"/>
                </a:solidFill>
                <a:latin typeface="Helvetica Neue" charset="0"/>
              </a:rPr>
              <a:t>“OpenStack has won the race to become the standard, and it has done it rapidly</a:t>
            </a:r>
            <a:r>
              <a:rPr lang="en-US" sz="2800" i="1" dirty="0" smtClean="0">
                <a:solidFill>
                  <a:schemeClr val="bg1"/>
                </a:solidFill>
                <a:latin typeface="Helvetica Neue" charset="0"/>
              </a:rPr>
              <a:t>.</a:t>
            </a:r>
            <a:r>
              <a:rPr lang="en-US" sz="2800" dirty="0" smtClean="0">
                <a:solidFill>
                  <a:schemeClr val="bg1"/>
                </a:solidFill>
                <a:latin typeface="Helvetica Neue" charset="0"/>
              </a:rPr>
              <a:t>”</a:t>
            </a:r>
            <a:endParaRPr lang="en-US" sz="2800" dirty="0">
              <a:solidFill>
                <a:schemeClr val="bg1"/>
              </a:solidFill>
              <a:latin typeface="Helvetica Neue" charset="0"/>
            </a:endParaRPr>
          </a:p>
        </p:txBody>
      </p:sp>
      <p:sp>
        <p:nvSpPr>
          <p:cNvPr id="14" name="Rectangle 13"/>
          <p:cNvSpPr/>
          <p:nvPr/>
        </p:nvSpPr>
        <p:spPr>
          <a:xfrm>
            <a:off x="7288113" y="3113799"/>
            <a:ext cx="5053806" cy="695575"/>
          </a:xfrm>
          <a:prstGeom prst="rect">
            <a:avLst/>
          </a:prstGeom>
        </p:spPr>
        <p:txBody>
          <a:bodyPr wrap="square">
            <a:spAutoFit/>
          </a:bodyPr>
          <a:lstStyle/>
          <a:p>
            <a:pPr algn="r">
              <a:lnSpc>
                <a:spcPct val="80000"/>
              </a:lnSpc>
              <a:buClr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lang="en-US" sz="2400" dirty="0" smtClean="0">
                <a:latin typeface="Helvetica Neue" charset="0"/>
              </a:rPr>
              <a:t>Ann </a:t>
            </a:r>
            <a:r>
              <a:rPr lang="en-US" sz="2400" dirty="0" err="1" smtClean="0">
                <a:latin typeface="Helvetica Neue" charset="0"/>
              </a:rPr>
              <a:t>Winblad</a:t>
            </a:r>
            <a:endParaRPr lang="en-US" sz="2400" dirty="0" smtClean="0">
              <a:latin typeface="Helvetica Neue" charset="0"/>
            </a:endParaRPr>
          </a:p>
          <a:p>
            <a:pPr algn="r">
              <a:lnSpc>
                <a:spcPct val="80000"/>
              </a:lnSpc>
              <a:buClr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lang="en-US" sz="2400" dirty="0" smtClean="0">
                <a:latin typeface="Helvetica Neue" charset="0"/>
              </a:rPr>
              <a:t>Hummer </a:t>
            </a:r>
            <a:r>
              <a:rPr lang="en-US" sz="2400" dirty="0" err="1" smtClean="0">
                <a:latin typeface="Helvetica Neue" charset="0"/>
              </a:rPr>
              <a:t>Winblad</a:t>
            </a:r>
            <a:r>
              <a:rPr lang="en-US" sz="2400" dirty="0" smtClean="0">
                <a:latin typeface="Helvetica Neue" charset="0"/>
              </a:rPr>
              <a:t> Ventures</a:t>
            </a:r>
            <a:endParaRPr lang="en-US" sz="2400" dirty="0">
              <a:latin typeface="Helvetica Neue" charset="0"/>
            </a:endParaRPr>
          </a:p>
        </p:txBody>
      </p:sp>
      <p:grpSp>
        <p:nvGrpSpPr>
          <p:cNvPr id="2" name="Group 139"/>
          <p:cNvGrpSpPr/>
          <p:nvPr/>
        </p:nvGrpSpPr>
        <p:grpSpPr>
          <a:xfrm>
            <a:off x="736600" y="8146014"/>
            <a:ext cx="955992" cy="943347"/>
            <a:chOff x="8718360" y="5167313"/>
            <a:chExt cx="628650" cy="619125"/>
          </a:xfrm>
        </p:grpSpPr>
        <p:sp>
          <p:nvSpPr>
            <p:cNvPr id="1139" name="Freeform 115"/>
            <p:cNvSpPr>
              <a:spLocks/>
            </p:cNvSpPr>
            <p:nvPr/>
          </p:nvSpPr>
          <p:spPr bwMode="auto">
            <a:xfrm>
              <a:off x="8718360" y="5167313"/>
              <a:ext cx="628650" cy="619125"/>
            </a:xfrm>
            <a:custGeom>
              <a:avLst/>
              <a:gdLst/>
              <a:ahLst/>
              <a:cxnLst>
                <a:cxn ang="0">
                  <a:pos x="752" y="217"/>
                </a:cxn>
                <a:cxn ang="0">
                  <a:pos x="744" y="203"/>
                </a:cxn>
                <a:cxn ang="0">
                  <a:pos x="734" y="188"/>
                </a:cxn>
                <a:cxn ang="0">
                  <a:pos x="725" y="172"/>
                </a:cxn>
                <a:cxn ang="0">
                  <a:pos x="714" y="157"/>
                </a:cxn>
                <a:cxn ang="0">
                  <a:pos x="702" y="142"/>
                </a:cxn>
                <a:cxn ang="0">
                  <a:pos x="681" y="119"/>
                </a:cxn>
                <a:cxn ang="0">
                  <a:pos x="650" y="91"/>
                </a:cxn>
                <a:cxn ang="0">
                  <a:pos x="617" y="66"/>
                </a:cxn>
                <a:cxn ang="0">
                  <a:pos x="581" y="45"/>
                </a:cxn>
                <a:cxn ang="0">
                  <a:pos x="542" y="28"/>
                </a:cxn>
                <a:cxn ang="0">
                  <a:pos x="503" y="14"/>
                </a:cxn>
                <a:cxn ang="0">
                  <a:pos x="461" y="5"/>
                </a:cxn>
                <a:cxn ang="0">
                  <a:pos x="419" y="2"/>
                </a:cxn>
                <a:cxn ang="0">
                  <a:pos x="356" y="3"/>
                </a:cxn>
                <a:cxn ang="0">
                  <a:pos x="279" y="18"/>
                </a:cxn>
                <a:cxn ang="0">
                  <a:pos x="208" y="48"/>
                </a:cxn>
                <a:cxn ang="0">
                  <a:pos x="144" y="89"/>
                </a:cxn>
                <a:cxn ang="0">
                  <a:pos x="91" y="142"/>
                </a:cxn>
                <a:cxn ang="0">
                  <a:pos x="49" y="206"/>
                </a:cxn>
                <a:cxn ang="0">
                  <a:pos x="17" y="275"/>
                </a:cxn>
                <a:cxn ang="0">
                  <a:pos x="2" y="351"/>
                </a:cxn>
                <a:cxn ang="0">
                  <a:pos x="1" y="426"/>
                </a:cxn>
                <a:cxn ang="0">
                  <a:pos x="14" y="494"/>
                </a:cxn>
                <a:cxn ang="0">
                  <a:pos x="38" y="558"/>
                </a:cxn>
                <a:cxn ang="0">
                  <a:pos x="74" y="617"/>
                </a:cxn>
                <a:cxn ang="0">
                  <a:pos x="111" y="661"/>
                </a:cxn>
                <a:cxn ang="0">
                  <a:pos x="142" y="690"/>
                </a:cxn>
                <a:cxn ang="0">
                  <a:pos x="177" y="715"/>
                </a:cxn>
                <a:cxn ang="0">
                  <a:pos x="212" y="736"/>
                </a:cxn>
                <a:cxn ang="0">
                  <a:pos x="251" y="753"/>
                </a:cxn>
                <a:cxn ang="0">
                  <a:pos x="291" y="767"/>
                </a:cxn>
                <a:cxn ang="0">
                  <a:pos x="332" y="776"/>
                </a:cxn>
                <a:cxn ang="0">
                  <a:pos x="375" y="780"/>
                </a:cxn>
                <a:cxn ang="0">
                  <a:pos x="419" y="780"/>
                </a:cxn>
                <a:cxn ang="0">
                  <a:pos x="461" y="776"/>
                </a:cxn>
                <a:cxn ang="0">
                  <a:pos x="503" y="767"/>
                </a:cxn>
                <a:cxn ang="0">
                  <a:pos x="542" y="753"/>
                </a:cxn>
                <a:cxn ang="0">
                  <a:pos x="581" y="736"/>
                </a:cxn>
                <a:cxn ang="0">
                  <a:pos x="617" y="715"/>
                </a:cxn>
                <a:cxn ang="0">
                  <a:pos x="650" y="690"/>
                </a:cxn>
                <a:cxn ang="0">
                  <a:pos x="681" y="661"/>
                </a:cxn>
                <a:cxn ang="0">
                  <a:pos x="718" y="617"/>
                </a:cxn>
                <a:cxn ang="0">
                  <a:pos x="754" y="558"/>
                </a:cxn>
                <a:cxn ang="0">
                  <a:pos x="778" y="494"/>
                </a:cxn>
                <a:cxn ang="0">
                  <a:pos x="791" y="426"/>
                </a:cxn>
                <a:cxn ang="0">
                  <a:pos x="791" y="369"/>
                </a:cxn>
                <a:cxn ang="0">
                  <a:pos x="786" y="327"/>
                </a:cxn>
                <a:cxn ang="0">
                  <a:pos x="777" y="284"/>
                </a:cxn>
                <a:cxn ang="0">
                  <a:pos x="763" y="242"/>
                </a:cxn>
              </a:cxnLst>
              <a:rect l="0" t="0" r="r" b="b"/>
              <a:pathLst>
                <a:path w="792" h="781">
                  <a:moveTo>
                    <a:pt x="754" y="223"/>
                  </a:moveTo>
                  <a:lnTo>
                    <a:pt x="752" y="217"/>
                  </a:lnTo>
                  <a:lnTo>
                    <a:pt x="748" y="210"/>
                  </a:lnTo>
                  <a:lnTo>
                    <a:pt x="744" y="203"/>
                  </a:lnTo>
                  <a:lnTo>
                    <a:pt x="739" y="196"/>
                  </a:lnTo>
                  <a:lnTo>
                    <a:pt x="734" y="188"/>
                  </a:lnTo>
                  <a:lnTo>
                    <a:pt x="730" y="180"/>
                  </a:lnTo>
                  <a:lnTo>
                    <a:pt x="725" y="172"/>
                  </a:lnTo>
                  <a:lnTo>
                    <a:pt x="719" y="164"/>
                  </a:lnTo>
                  <a:lnTo>
                    <a:pt x="714" y="157"/>
                  </a:lnTo>
                  <a:lnTo>
                    <a:pt x="708" y="149"/>
                  </a:lnTo>
                  <a:lnTo>
                    <a:pt x="702" y="142"/>
                  </a:lnTo>
                  <a:lnTo>
                    <a:pt x="696" y="135"/>
                  </a:lnTo>
                  <a:lnTo>
                    <a:pt x="681" y="119"/>
                  </a:lnTo>
                  <a:lnTo>
                    <a:pt x="666" y="105"/>
                  </a:lnTo>
                  <a:lnTo>
                    <a:pt x="650" y="91"/>
                  </a:lnTo>
                  <a:lnTo>
                    <a:pt x="634" y="78"/>
                  </a:lnTo>
                  <a:lnTo>
                    <a:pt x="617" y="66"/>
                  </a:lnTo>
                  <a:lnTo>
                    <a:pt x="600" y="55"/>
                  </a:lnTo>
                  <a:lnTo>
                    <a:pt x="581" y="45"/>
                  </a:lnTo>
                  <a:lnTo>
                    <a:pt x="561" y="36"/>
                  </a:lnTo>
                  <a:lnTo>
                    <a:pt x="542" y="28"/>
                  </a:lnTo>
                  <a:lnTo>
                    <a:pt x="522" y="21"/>
                  </a:lnTo>
                  <a:lnTo>
                    <a:pt x="503" y="14"/>
                  </a:lnTo>
                  <a:lnTo>
                    <a:pt x="482" y="10"/>
                  </a:lnTo>
                  <a:lnTo>
                    <a:pt x="461" y="5"/>
                  </a:lnTo>
                  <a:lnTo>
                    <a:pt x="439" y="3"/>
                  </a:lnTo>
                  <a:lnTo>
                    <a:pt x="419" y="2"/>
                  </a:lnTo>
                  <a:lnTo>
                    <a:pt x="397" y="0"/>
                  </a:lnTo>
                  <a:lnTo>
                    <a:pt x="356" y="3"/>
                  </a:lnTo>
                  <a:lnTo>
                    <a:pt x="317" y="8"/>
                  </a:lnTo>
                  <a:lnTo>
                    <a:pt x="279" y="18"/>
                  </a:lnTo>
                  <a:lnTo>
                    <a:pt x="242" y="31"/>
                  </a:lnTo>
                  <a:lnTo>
                    <a:pt x="208" y="48"/>
                  </a:lnTo>
                  <a:lnTo>
                    <a:pt x="175" y="67"/>
                  </a:lnTo>
                  <a:lnTo>
                    <a:pt x="144" y="89"/>
                  </a:lnTo>
                  <a:lnTo>
                    <a:pt x="117" y="115"/>
                  </a:lnTo>
                  <a:lnTo>
                    <a:pt x="91" y="142"/>
                  </a:lnTo>
                  <a:lnTo>
                    <a:pt x="68" y="173"/>
                  </a:lnTo>
                  <a:lnTo>
                    <a:pt x="49" y="206"/>
                  </a:lnTo>
                  <a:lnTo>
                    <a:pt x="31" y="239"/>
                  </a:lnTo>
                  <a:lnTo>
                    <a:pt x="17" y="275"/>
                  </a:lnTo>
                  <a:lnTo>
                    <a:pt x="8" y="313"/>
                  </a:lnTo>
                  <a:lnTo>
                    <a:pt x="2" y="351"/>
                  </a:lnTo>
                  <a:lnTo>
                    <a:pt x="0" y="391"/>
                  </a:lnTo>
                  <a:lnTo>
                    <a:pt x="1" y="426"/>
                  </a:lnTo>
                  <a:lnTo>
                    <a:pt x="7" y="460"/>
                  </a:lnTo>
                  <a:lnTo>
                    <a:pt x="14" y="494"/>
                  </a:lnTo>
                  <a:lnTo>
                    <a:pt x="26" y="526"/>
                  </a:lnTo>
                  <a:lnTo>
                    <a:pt x="38" y="558"/>
                  </a:lnTo>
                  <a:lnTo>
                    <a:pt x="55" y="588"/>
                  </a:lnTo>
                  <a:lnTo>
                    <a:pt x="74" y="617"/>
                  </a:lnTo>
                  <a:lnTo>
                    <a:pt x="96" y="645"/>
                  </a:lnTo>
                  <a:lnTo>
                    <a:pt x="111" y="661"/>
                  </a:lnTo>
                  <a:lnTo>
                    <a:pt x="126" y="676"/>
                  </a:lnTo>
                  <a:lnTo>
                    <a:pt x="142" y="690"/>
                  </a:lnTo>
                  <a:lnTo>
                    <a:pt x="159" y="702"/>
                  </a:lnTo>
                  <a:lnTo>
                    <a:pt x="177" y="715"/>
                  </a:lnTo>
                  <a:lnTo>
                    <a:pt x="194" y="726"/>
                  </a:lnTo>
                  <a:lnTo>
                    <a:pt x="212" y="736"/>
                  </a:lnTo>
                  <a:lnTo>
                    <a:pt x="232" y="745"/>
                  </a:lnTo>
                  <a:lnTo>
                    <a:pt x="251" y="753"/>
                  </a:lnTo>
                  <a:lnTo>
                    <a:pt x="271" y="760"/>
                  </a:lnTo>
                  <a:lnTo>
                    <a:pt x="291" y="767"/>
                  </a:lnTo>
                  <a:lnTo>
                    <a:pt x="311" y="772"/>
                  </a:lnTo>
                  <a:lnTo>
                    <a:pt x="332" y="776"/>
                  </a:lnTo>
                  <a:lnTo>
                    <a:pt x="354" y="779"/>
                  </a:lnTo>
                  <a:lnTo>
                    <a:pt x="375" y="780"/>
                  </a:lnTo>
                  <a:lnTo>
                    <a:pt x="397" y="781"/>
                  </a:lnTo>
                  <a:lnTo>
                    <a:pt x="419" y="780"/>
                  </a:lnTo>
                  <a:lnTo>
                    <a:pt x="439" y="779"/>
                  </a:lnTo>
                  <a:lnTo>
                    <a:pt x="461" y="776"/>
                  </a:lnTo>
                  <a:lnTo>
                    <a:pt x="482" y="772"/>
                  </a:lnTo>
                  <a:lnTo>
                    <a:pt x="503" y="767"/>
                  </a:lnTo>
                  <a:lnTo>
                    <a:pt x="522" y="760"/>
                  </a:lnTo>
                  <a:lnTo>
                    <a:pt x="542" y="753"/>
                  </a:lnTo>
                  <a:lnTo>
                    <a:pt x="561" y="745"/>
                  </a:lnTo>
                  <a:lnTo>
                    <a:pt x="581" y="736"/>
                  </a:lnTo>
                  <a:lnTo>
                    <a:pt x="600" y="726"/>
                  </a:lnTo>
                  <a:lnTo>
                    <a:pt x="617" y="715"/>
                  </a:lnTo>
                  <a:lnTo>
                    <a:pt x="634" y="702"/>
                  </a:lnTo>
                  <a:lnTo>
                    <a:pt x="650" y="690"/>
                  </a:lnTo>
                  <a:lnTo>
                    <a:pt x="666" y="676"/>
                  </a:lnTo>
                  <a:lnTo>
                    <a:pt x="681" y="661"/>
                  </a:lnTo>
                  <a:lnTo>
                    <a:pt x="696" y="645"/>
                  </a:lnTo>
                  <a:lnTo>
                    <a:pt x="718" y="617"/>
                  </a:lnTo>
                  <a:lnTo>
                    <a:pt x="738" y="588"/>
                  </a:lnTo>
                  <a:lnTo>
                    <a:pt x="754" y="558"/>
                  </a:lnTo>
                  <a:lnTo>
                    <a:pt x="768" y="526"/>
                  </a:lnTo>
                  <a:lnTo>
                    <a:pt x="778" y="494"/>
                  </a:lnTo>
                  <a:lnTo>
                    <a:pt x="786" y="460"/>
                  </a:lnTo>
                  <a:lnTo>
                    <a:pt x="791" y="426"/>
                  </a:lnTo>
                  <a:lnTo>
                    <a:pt x="792" y="391"/>
                  </a:lnTo>
                  <a:lnTo>
                    <a:pt x="791" y="369"/>
                  </a:lnTo>
                  <a:lnTo>
                    <a:pt x="790" y="347"/>
                  </a:lnTo>
                  <a:lnTo>
                    <a:pt x="786" y="327"/>
                  </a:lnTo>
                  <a:lnTo>
                    <a:pt x="783" y="305"/>
                  </a:lnTo>
                  <a:lnTo>
                    <a:pt x="777" y="284"/>
                  </a:lnTo>
                  <a:lnTo>
                    <a:pt x="770" y="263"/>
                  </a:lnTo>
                  <a:lnTo>
                    <a:pt x="763" y="242"/>
                  </a:lnTo>
                  <a:lnTo>
                    <a:pt x="754" y="223"/>
                  </a:lnTo>
                  <a:close/>
                </a:path>
              </a:pathLst>
            </a:custGeom>
            <a:solidFill>
              <a:schemeClr val="bg1"/>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9" name="Freeform 125"/>
            <p:cNvSpPr>
              <a:spLocks/>
            </p:cNvSpPr>
            <p:nvPr/>
          </p:nvSpPr>
          <p:spPr bwMode="auto">
            <a:xfrm>
              <a:off x="9267635" y="5335588"/>
              <a:ext cx="26987" cy="26988"/>
            </a:xfrm>
            <a:custGeom>
              <a:avLst/>
              <a:gdLst/>
              <a:ahLst/>
              <a:cxnLst>
                <a:cxn ang="0">
                  <a:pos x="9" y="34"/>
                </a:cxn>
                <a:cxn ang="0">
                  <a:pos x="32" y="25"/>
                </a:cxn>
                <a:cxn ang="0">
                  <a:pos x="29" y="19"/>
                </a:cxn>
                <a:cxn ang="0">
                  <a:pos x="25" y="12"/>
                </a:cxn>
                <a:cxn ang="0">
                  <a:pos x="22" y="6"/>
                </a:cxn>
                <a:cxn ang="0">
                  <a:pos x="18" y="0"/>
                </a:cxn>
                <a:cxn ang="0">
                  <a:pos x="0" y="17"/>
                </a:cxn>
                <a:cxn ang="0">
                  <a:pos x="2" y="21"/>
                </a:cxn>
                <a:cxn ang="0">
                  <a:pos x="4" y="25"/>
                </a:cxn>
                <a:cxn ang="0">
                  <a:pos x="7" y="29"/>
                </a:cxn>
                <a:cxn ang="0">
                  <a:pos x="9" y="34"/>
                </a:cxn>
              </a:cxnLst>
              <a:rect l="0" t="0" r="r" b="b"/>
              <a:pathLst>
                <a:path w="32" h="34">
                  <a:moveTo>
                    <a:pt x="9" y="34"/>
                  </a:moveTo>
                  <a:lnTo>
                    <a:pt x="32" y="25"/>
                  </a:lnTo>
                  <a:lnTo>
                    <a:pt x="29" y="19"/>
                  </a:lnTo>
                  <a:lnTo>
                    <a:pt x="25" y="12"/>
                  </a:lnTo>
                  <a:lnTo>
                    <a:pt x="22" y="6"/>
                  </a:lnTo>
                  <a:lnTo>
                    <a:pt x="18" y="0"/>
                  </a:lnTo>
                  <a:lnTo>
                    <a:pt x="0" y="17"/>
                  </a:lnTo>
                  <a:lnTo>
                    <a:pt x="2" y="21"/>
                  </a:lnTo>
                  <a:lnTo>
                    <a:pt x="4" y="25"/>
                  </a:lnTo>
                  <a:lnTo>
                    <a:pt x="7" y="29"/>
                  </a:lnTo>
                  <a:lnTo>
                    <a:pt x="9" y="34"/>
                  </a:lnTo>
                  <a:close/>
                </a:path>
              </a:pathLst>
            </a:custGeom>
            <a:solidFill>
              <a:schemeClr val="bg1"/>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0" name="Freeform 126"/>
            <p:cNvSpPr>
              <a:spLocks/>
            </p:cNvSpPr>
            <p:nvPr/>
          </p:nvSpPr>
          <p:spPr bwMode="auto">
            <a:xfrm>
              <a:off x="8743760" y="5192713"/>
              <a:ext cx="577850" cy="568325"/>
            </a:xfrm>
            <a:custGeom>
              <a:avLst/>
              <a:gdLst/>
              <a:ahLst/>
              <a:cxnLst>
                <a:cxn ang="0">
                  <a:pos x="691" y="267"/>
                </a:cxn>
                <a:cxn ang="0">
                  <a:pos x="704" y="342"/>
                </a:cxn>
                <a:cxn ang="0">
                  <a:pos x="690" y="458"/>
                </a:cxn>
                <a:cxn ang="0">
                  <a:pos x="627" y="570"/>
                </a:cxn>
                <a:cxn ang="0">
                  <a:pos x="527" y="650"/>
                </a:cxn>
                <a:cxn ang="0">
                  <a:pos x="399" y="689"/>
                </a:cxn>
                <a:cxn ang="0">
                  <a:pos x="309" y="685"/>
                </a:cxn>
                <a:cxn ang="0">
                  <a:pos x="238" y="667"/>
                </a:cxn>
                <a:cxn ang="0">
                  <a:pos x="173" y="633"/>
                </a:cxn>
                <a:cxn ang="0">
                  <a:pos x="118" y="587"/>
                </a:cxn>
                <a:cxn ang="0">
                  <a:pos x="57" y="501"/>
                </a:cxn>
                <a:cxn ang="0">
                  <a:pos x="26" y="389"/>
                </a:cxn>
                <a:cxn ang="0">
                  <a:pos x="36" y="274"/>
                </a:cxn>
                <a:cxn ang="0">
                  <a:pos x="87" y="168"/>
                </a:cxn>
                <a:cxn ang="0">
                  <a:pos x="145" y="107"/>
                </a:cxn>
                <a:cxn ang="0">
                  <a:pos x="206" y="66"/>
                </a:cxn>
                <a:cxn ang="0">
                  <a:pos x="274" y="41"/>
                </a:cxn>
                <a:cxn ang="0">
                  <a:pos x="346" y="28"/>
                </a:cxn>
                <a:cxn ang="0">
                  <a:pos x="420" y="33"/>
                </a:cxn>
                <a:cxn ang="0">
                  <a:pos x="490" y="51"/>
                </a:cxn>
                <a:cxn ang="0">
                  <a:pos x="555" y="85"/>
                </a:cxn>
                <a:cxn ang="0">
                  <a:pos x="611" y="131"/>
                </a:cxn>
                <a:cxn ang="0">
                  <a:pos x="639" y="164"/>
                </a:cxn>
                <a:cxn ang="0">
                  <a:pos x="657" y="191"/>
                </a:cxn>
                <a:cxn ang="0">
                  <a:pos x="671" y="167"/>
                </a:cxn>
                <a:cxn ang="0">
                  <a:pos x="652" y="139"/>
                </a:cxn>
                <a:cxn ang="0">
                  <a:pos x="612" y="98"/>
                </a:cxn>
                <a:cxn ang="0">
                  <a:pos x="550" y="51"/>
                </a:cxn>
                <a:cxn ang="0">
                  <a:pos x="480" y="19"/>
                </a:cxn>
                <a:cxn ang="0">
                  <a:pos x="404" y="3"/>
                </a:cxn>
                <a:cxn ang="0">
                  <a:pos x="291" y="7"/>
                </a:cxn>
                <a:cxn ang="0">
                  <a:pos x="162" y="62"/>
                </a:cxn>
                <a:cxn ang="0">
                  <a:pos x="63" y="160"/>
                </a:cxn>
                <a:cxn ang="0">
                  <a:pos x="7" y="288"/>
                </a:cxn>
                <a:cxn ang="0">
                  <a:pos x="6" y="424"/>
                </a:cxn>
                <a:cxn ang="0">
                  <a:pos x="50" y="541"/>
                </a:cxn>
                <a:cxn ang="0">
                  <a:pos x="116" y="621"/>
                </a:cxn>
                <a:cxn ang="0">
                  <a:pos x="178" y="667"/>
                </a:cxn>
                <a:cxn ang="0">
                  <a:pos x="248" y="699"/>
                </a:cxn>
                <a:cxn ang="0">
                  <a:pos x="325" y="715"/>
                </a:cxn>
                <a:cxn ang="0">
                  <a:pos x="404" y="715"/>
                </a:cxn>
                <a:cxn ang="0">
                  <a:pos x="480" y="699"/>
                </a:cxn>
                <a:cxn ang="0">
                  <a:pos x="550" y="667"/>
                </a:cxn>
                <a:cxn ang="0">
                  <a:pos x="612" y="621"/>
                </a:cxn>
                <a:cxn ang="0">
                  <a:pos x="678" y="541"/>
                </a:cxn>
                <a:cxn ang="0">
                  <a:pos x="723" y="424"/>
                </a:cxn>
                <a:cxn ang="0">
                  <a:pos x="727" y="320"/>
                </a:cxn>
                <a:cxn ang="0">
                  <a:pos x="708" y="243"/>
                </a:cxn>
              </a:cxnLst>
              <a:rect l="0" t="0" r="r" b="b"/>
              <a:pathLst>
                <a:path w="729" h="718">
                  <a:moveTo>
                    <a:pt x="670" y="215"/>
                  </a:moveTo>
                  <a:lnTo>
                    <a:pt x="678" y="232"/>
                  </a:lnTo>
                  <a:lnTo>
                    <a:pt x="685" y="250"/>
                  </a:lnTo>
                  <a:lnTo>
                    <a:pt x="691" y="267"/>
                  </a:lnTo>
                  <a:lnTo>
                    <a:pt x="695" y="285"/>
                  </a:lnTo>
                  <a:lnTo>
                    <a:pt x="700" y="304"/>
                  </a:lnTo>
                  <a:lnTo>
                    <a:pt x="702" y="322"/>
                  </a:lnTo>
                  <a:lnTo>
                    <a:pt x="704" y="342"/>
                  </a:lnTo>
                  <a:lnTo>
                    <a:pt x="705" y="360"/>
                  </a:lnTo>
                  <a:lnTo>
                    <a:pt x="702" y="394"/>
                  </a:lnTo>
                  <a:lnTo>
                    <a:pt x="698" y="426"/>
                  </a:lnTo>
                  <a:lnTo>
                    <a:pt x="690" y="458"/>
                  </a:lnTo>
                  <a:lnTo>
                    <a:pt x="678" y="488"/>
                  </a:lnTo>
                  <a:lnTo>
                    <a:pt x="663" y="517"/>
                  </a:lnTo>
                  <a:lnTo>
                    <a:pt x="647" y="544"/>
                  </a:lnTo>
                  <a:lnTo>
                    <a:pt x="627" y="570"/>
                  </a:lnTo>
                  <a:lnTo>
                    <a:pt x="606" y="593"/>
                  </a:lnTo>
                  <a:lnTo>
                    <a:pt x="581" y="614"/>
                  </a:lnTo>
                  <a:lnTo>
                    <a:pt x="555" y="633"/>
                  </a:lnTo>
                  <a:lnTo>
                    <a:pt x="527" y="650"/>
                  </a:lnTo>
                  <a:lnTo>
                    <a:pt x="497" y="663"/>
                  </a:lnTo>
                  <a:lnTo>
                    <a:pt x="466" y="675"/>
                  </a:lnTo>
                  <a:lnTo>
                    <a:pt x="433" y="683"/>
                  </a:lnTo>
                  <a:lnTo>
                    <a:pt x="399" y="689"/>
                  </a:lnTo>
                  <a:lnTo>
                    <a:pt x="365" y="690"/>
                  </a:lnTo>
                  <a:lnTo>
                    <a:pt x="346" y="690"/>
                  </a:lnTo>
                  <a:lnTo>
                    <a:pt x="328" y="688"/>
                  </a:lnTo>
                  <a:lnTo>
                    <a:pt x="309" y="685"/>
                  </a:lnTo>
                  <a:lnTo>
                    <a:pt x="291" y="682"/>
                  </a:lnTo>
                  <a:lnTo>
                    <a:pt x="274" y="678"/>
                  </a:lnTo>
                  <a:lnTo>
                    <a:pt x="255" y="673"/>
                  </a:lnTo>
                  <a:lnTo>
                    <a:pt x="238" y="667"/>
                  </a:lnTo>
                  <a:lnTo>
                    <a:pt x="222" y="660"/>
                  </a:lnTo>
                  <a:lnTo>
                    <a:pt x="206" y="652"/>
                  </a:lnTo>
                  <a:lnTo>
                    <a:pt x="189" y="644"/>
                  </a:lnTo>
                  <a:lnTo>
                    <a:pt x="173" y="633"/>
                  </a:lnTo>
                  <a:lnTo>
                    <a:pt x="159" y="623"/>
                  </a:lnTo>
                  <a:lnTo>
                    <a:pt x="145" y="612"/>
                  </a:lnTo>
                  <a:lnTo>
                    <a:pt x="131" y="600"/>
                  </a:lnTo>
                  <a:lnTo>
                    <a:pt x="118" y="587"/>
                  </a:lnTo>
                  <a:lnTo>
                    <a:pt x="105" y="573"/>
                  </a:lnTo>
                  <a:lnTo>
                    <a:pt x="87" y="550"/>
                  </a:lnTo>
                  <a:lnTo>
                    <a:pt x="71" y="526"/>
                  </a:lnTo>
                  <a:lnTo>
                    <a:pt x="57" y="501"/>
                  </a:lnTo>
                  <a:lnTo>
                    <a:pt x="45" y="474"/>
                  </a:lnTo>
                  <a:lnTo>
                    <a:pt x="36" y="447"/>
                  </a:lnTo>
                  <a:lnTo>
                    <a:pt x="29" y="418"/>
                  </a:lnTo>
                  <a:lnTo>
                    <a:pt x="26" y="389"/>
                  </a:lnTo>
                  <a:lnTo>
                    <a:pt x="25" y="360"/>
                  </a:lnTo>
                  <a:lnTo>
                    <a:pt x="26" y="331"/>
                  </a:lnTo>
                  <a:lnTo>
                    <a:pt x="29" y="301"/>
                  </a:lnTo>
                  <a:lnTo>
                    <a:pt x="36" y="274"/>
                  </a:lnTo>
                  <a:lnTo>
                    <a:pt x="45" y="245"/>
                  </a:lnTo>
                  <a:lnTo>
                    <a:pt x="57" y="218"/>
                  </a:lnTo>
                  <a:lnTo>
                    <a:pt x="71" y="193"/>
                  </a:lnTo>
                  <a:lnTo>
                    <a:pt x="87" y="168"/>
                  </a:lnTo>
                  <a:lnTo>
                    <a:pt x="105" y="145"/>
                  </a:lnTo>
                  <a:lnTo>
                    <a:pt x="118" y="131"/>
                  </a:lnTo>
                  <a:lnTo>
                    <a:pt x="131" y="118"/>
                  </a:lnTo>
                  <a:lnTo>
                    <a:pt x="145" y="107"/>
                  </a:lnTo>
                  <a:lnTo>
                    <a:pt x="159" y="95"/>
                  </a:lnTo>
                  <a:lnTo>
                    <a:pt x="173" y="85"/>
                  </a:lnTo>
                  <a:lnTo>
                    <a:pt x="189" y="75"/>
                  </a:lnTo>
                  <a:lnTo>
                    <a:pt x="206" y="66"/>
                  </a:lnTo>
                  <a:lnTo>
                    <a:pt x="222" y="58"/>
                  </a:lnTo>
                  <a:lnTo>
                    <a:pt x="238" y="51"/>
                  </a:lnTo>
                  <a:lnTo>
                    <a:pt x="255" y="45"/>
                  </a:lnTo>
                  <a:lnTo>
                    <a:pt x="274" y="41"/>
                  </a:lnTo>
                  <a:lnTo>
                    <a:pt x="291" y="36"/>
                  </a:lnTo>
                  <a:lnTo>
                    <a:pt x="309" y="33"/>
                  </a:lnTo>
                  <a:lnTo>
                    <a:pt x="328" y="30"/>
                  </a:lnTo>
                  <a:lnTo>
                    <a:pt x="346" y="28"/>
                  </a:lnTo>
                  <a:lnTo>
                    <a:pt x="365" y="28"/>
                  </a:lnTo>
                  <a:lnTo>
                    <a:pt x="383" y="28"/>
                  </a:lnTo>
                  <a:lnTo>
                    <a:pt x="402" y="30"/>
                  </a:lnTo>
                  <a:lnTo>
                    <a:pt x="420" y="33"/>
                  </a:lnTo>
                  <a:lnTo>
                    <a:pt x="437" y="36"/>
                  </a:lnTo>
                  <a:lnTo>
                    <a:pt x="456" y="41"/>
                  </a:lnTo>
                  <a:lnTo>
                    <a:pt x="473" y="45"/>
                  </a:lnTo>
                  <a:lnTo>
                    <a:pt x="490" y="51"/>
                  </a:lnTo>
                  <a:lnTo>
                    <a:pt x="506" y="58"/>
                  </a:lnTo>
                  <a:lnTo>
                    <a:pt x="524" y="66"/>
                  </a:lnTo>
                  <a:lnTo>
                    <a:pt x="539" y="75"/>
                  </a:lnTo>
                  <a:lnTo>
                    <a:pt x="555" y="85"/>
                  </a:lnTo>
                  <a:lnTo>
                    <a:pt x="570" y="95"/>
                  </a:lnTo>
                  <a:lnTo>
                    <a:pt x="584" y="107"/>
                  </a:lnTo>
                  <a:lnTo>
                    <a:pt x="597" y="118"/>
                  </a:lnTo>
                  <a:lnTo>
                    <a:pt x="611" y="131"/>
                  </a:lnTo>
                  <a:lnTo>
                    <a:pt x="624" y="145"/>
                  </a:lnTo>
                  <a:lnTo>
                    <a:pt x="629" y="152"/>
                  </a:lnTo>
                  <a:lnTo>
                    <a:pt x="634" y="157"/>
                  </a:lnTo>
                  <a:lnTo>
                    <a:pt x="639" y="164"/>
                  </a:lnTo>
                  <a:lnTo>
                    <a:pt x="644" y="171"/>
                  </a:lnTo>
                  <a:lnTo>
                    <a:pt x="648" y="177"/>
                  </a:lnTo>
                  <a:lnTo>
                    <a:pt x="653" y="184"/>
                  </a:lnTo>
                  <a:lnTo>
                    <a:pt x="657" y="191"/>
                  </a:lnTo>
                  <a:lnTo>
                    <a:pt x="661" y="198"/>
                  </a:lnTo>
                  <a:lnTo>
                    <a:pt x="679" y="181"/>
                  </a:lnTo>
                  <a:lnTo>
                    <a:pt x="675" y="175"/>
                  </a:lnTo>
                  <a:lnTo>
                    <a:pt x="671" y="167"/>
                  </a:lnTo>
                  <a:lnTo>
                    <a:pt x="667" y="160"/>
                  </a:lnTo>
                  <a:lnTo>
                    <a:pt x="662" y="153"/>
                  </a:lnTo>
                  <a:lnTo>
                    <a:pt x="656" y="146"/>
                  </a:lnTo>
                  <a:lnTo>
                    <a:pt x="652" y="139"/>
                  </a:lnTo>
                  <a:lnTo>
                    <a:pt x="646" y="133"/>
                  </a:lnTo>
                  <a:lnTo>
                    <a:pt x="640" y="126"/>
                  </a:lnTo>
                  <a:lnTo>
                    <a:pt x="626" y="111"/>
                  </a:lnTo>
                  <a:lnTo>
                    <a:pt x="612" y="98"/>
                  </a:lnTo>
                  <a:lnTo>
                    <a:pt x="599" y="85"/>
                  </a:lnTo>
                  <a:lnTo>
                    <a:pt x="582" y="73"/>
                  </a:lnTo>
                  <a:lnTo>
                    <a:pt x="568" y="62"/>
                  </a:lnTo>
                  <a:lnTo>
                    <a:pt x="550" y="51"/>
                  </a:lnTo>
                  <a:lnTo>
                    <a:pt x="534" y="42"/>
                  </a:lnTo>
                  <a:lnTo>
                    <a:pt x="517" y="34"/>
                  </a:lnTo>
                  <a:lnTo>
                    <a:pt x="498" y="26"/>
                  </a:lnTo>
                  <a:lnTo>
                    <a:pt x="480" y="19"/>
                  </a:lnTo>
                  <a:lnTo>
                    <a:pt x="461" y="13"/>
                  </a:lnTo>
                  <a:lnTo>
                    <a:pt x="443" y="9"/>
                  </a:lnTo>
                  <a:lnTo>
                    <a:pt x="423" y="5"/>
                  </a:lnTo>
                  <a:lnTo>
                    <a:pt x="404" y="3"/>
                  </a:lnTo>
                  <a:lnTo>
                    <a:pt x="384" y="0"/>
                  </a:lnTo>
                  <a:lnTo>
                    <a:pt x="365" y="0"/>
                  </a:lnTo>
                  <a:lnTo>
                    <a:pt x="328" y="3"/>
                  </a:lnTo>
                  <a:lnTo>
                    <a:pt x="291" y="7"/>
                  </a:lnTo>
                  <a:lnTo>
                    <a:pt x="256" y="17"/>
                  </a:lnTo>
                  <a:lnTo>
                    <a:pt x="223" y="29"/>
                  </a:lnTo>
                  <a:lnTo>
                    <a:pt x="192" y="44"/>
                  </a:lnTo>
                  <a:lnTo>
                    <a:pt x="162" y="62"/>
                  </a:lnTo>
                  <a:lnTo>
                    <a:pt x="133" y="82"/>
                  </a:lnTo>
                  <a:lnTo>
                    <a:pt x="108" y="105"/>
                  </a:lnTo>
                  <a:lnTo>
                    <a:pt x="83" y="132"/>
                  </a:lnTo>
                  <a:lnTo>
                    <a:pt x="63" y="160"/>
                  </a:lnTo>
                  <a:lnTo>
                    <a:pt x="44" y="188"/>
                  </a:lnTo>
                  <a:lnTo>
                    <a:pt x="29" y="221"/>
                  </a:lnTo>
                  <a:lnTo>
                    <a:pt x="17" y="253"/>
                  </a:lnTo>
                  <a:lnTo>
                    <a:pt x="7" y="288"/>
                  </a:lnTo>
                  <a:lnTo>
                    <a:pt x="3" y="323"/>
                  </a:lnTo>
                  <a:lnTo>
                    <a:pt x="0" y="360"/>
                  </a:lnTo>
                  <a:lnTo>
                    <a:pt x="2" y="392"/>
                  </a:lnTo>
                  <a:lnTo>
                    <a:pt x="6" y="424"/>
                  </a:lnTo>
                  <a:lnTo>
                    <a:pt x="13" y="455"/>
                  </a:lnTo>
                  <a:lnTo>
                    <a:pt x="23" y="485"/>
                  </a:lnTo>
                  <a:lnTo>
                    <a:pt x="35" y="514"/>
                  </a:lnTo>
                  <a:lnTo>
                    <a:pt x="50" y="541"/>
                  </a:lnTo>
                  <a:lnTo>
                    <a:pt x="68" y="568"/>
                  </a:lnTo>
                  <a:lnTo>
                    <a:pt x="88" y="593"/>
                  </a:lnTo>
                  <a:lnTo>
                    <a:pt x="102" y="608"/>
                  </a:lnTo>
                  <a:lnTo>
                    <a:pt x="116" y="621"/>
                  </a:lnTo>
                  <a:lnTo>
                    <a:pt x="131" y="635"/>
                  </a:lnTo>
                  <a:lnTo>
                    <a:pt x="146" y="646"/>
                  </a:lnTo>
                  <a:lnTo>
                    <a:pt x="162" y="658"/>
                  </a:lnTo>
                  <a:lnTo>
                    <a:pt x="178" y="667"/>
                  </a:lnTo>
                  <a:lnTo>
                    <a:pt x="195" y="677"/>
                  </a:lnTo>
                  <a:lnTo>
                    <a:pt x="213" y="685"/>
                  </a:lnTo>
                  <a:lnTo>
                    <a:pt x="231" y="692"/>
                  </a:lnTo>
                  <a:lnTo>
                    <a:pt x="248" y="699"/>
                  </a:lnTo>
                  <a:lnTo>
                    <a:pt x="268" y="705"/>
                  </a:lnTo>
                  <a:lnTo>
                    <a:pt x="286" y="710"/>
                  </a:lnTo>
                  <a:lnTo>
                    <a:pt x="306" y="713"/>
                  </a:lnTo>
                  <a:lnTo>
                    <a:pt x="325" y="715"/>
                  </a:lnTo>
                  <a:lnTo>
                    <a:pt x="345" y="718"/>
                  </a:lnTo>
                  <a:lnTo>
                    <a:pt x="365" y="718"/>
                  </a:lnTo>
                  <a:lnTo>
                    <a:pt x="384" y="718"/>
                  </a:lnTo>
                  <a:lnTo>
                    <a:pt x="404" y="715"/>
                  </a:lnTo>
                  <a:lnTo>
                    <a:pt x="423" y="713"/>
                  </a:lnTo>
                  <a:lnTo>
                    <a:pt x="443" y="710"/>
                  </a:lnTo>
                  <a:lnTo>
                    <a:pt x="461" y="705"/>
                  </a:lnTo>
                  <a:lnTo>
                    <a:pt x="480" y="699"/>
                  </a:lnTo>
                  <a:lnTo>
                    <a:pt x="498" y="692"/>
                  </a:lnTo>
                  <a:lnTo>
                    <a:pt x="517" y="685"/>
                  </a:lnTo>
                  <a:lnTo>
                    <a:pt x="534" y="677"/>
                  </a:lnTo>
                  <a:lnTo>
                    <a:pt x="550" y="667"/>
                  </a:lnTo>
                  <a:lnTo>
                    <a:pt x="568" y="658"/>
                  </a:lnTo>
                  <a:lnTo>
                    <a:pt x="582" y="646"/>
                  </a:lnTo>
                  <a:lnTo>
                    <a:pt x="599" y="635"/>
                  </a:lnTo>
                  <a:lnTo>
                    <a:pt x="612" y="621"/>
                  </a:lnTo>
                  <a:lnTo>
                    <a:pt x="626" y="608"/>
                  </a:lnTo>
                  <a:lnTo>
                    <a:pt x="640" y="593"/>
                  </a:lnTo>
                  <a:lnTo>
                    <a:pt x="660" y="568"/>
                  </a:lnTo>
                  <a:lnTo>
                    <a:pt x="678" y="541"/>
                  </a:lnTo>
                  <a:lnTo>
                    <a:pt x="693" y="514"/>
                  </a:lnTo>
                  <a:lnTo>
                    <a:pt x="706" y="485"/>
                  </a:lnTo>
                  <a:lnTo>
                    <a:pt x="716" y="455"/>
                  </a:lnTo>
                  <a:lnTo>
                    <a:pt x="723" y="424"/>
                  </a:lnTo>
                  <a:lnTo>
                    <a:pt x="728" y="392"/>
                  </a:lnTo>
                  <a:lnTo>
                    <a:pt x="729" y="360"/>
                  </a:lnTo>
                  <a:lnTo>
                    <a:pt x="728" y="339"/>
                  </a:lnTo>
                  <a:lnTo>
                    <a:pt x="727" y="320"/>
                  </a:lnTo>
                  <a:lnTo>
                    <a:pt x="723" y="300"/>
                  </a:lnTo>
                  <a:lnTo>
                    <a:pt x="720" y="281"/>
                  </a:lnTo>
                  <a:lnTo>
                    <a:pt x="715" y="261"/>
                  </a:lnTo>
                  <a:lnTo>
                    <a:pt x="708" y="243"/>
                  </a:lnTo>
                  <a:lnTo>
                    <a:pt x="701" y="224"/>
                  </a:lnTo>
                  <a:lnTo>
                    <a:pt x="693" y="206"/>
                  </a:lnTo>
                  <a:lnTo>
                    <a:pt x="670" y="215"/>
                  </a:lnTo>
                  <a:close/>
                </a:path>
              </a:pathLst>
            </a:custGeom>
            <a:solidFill>
              <a:schemeClr val="bg1"/>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1" name="Freeform 127"/>
            <p:cNvSpPr>
              <a:spLocks/>
            </p:cNvSpPr>
            <p:nvPr/>
          </p:nvSpPr>
          <p:spPr bwMode="auto">
            <a:xfrm>
              <a:off x="8750110" y="5203826"/>
              <a:ext cx="561975" cy="546100"/>
            </a:xfrm>
            <a:custGeom>
              <a:avLst/>
              <a:gdLst/>
              <a:ahLst/>
              <a:cxnLst>
                <a:cxn ang="0">
                  <a:pos x="707" y="332"/>
                </a:cxn>
                <a:cxn ang="0">
                  <a:pos x="367" y="141"/>
                </a:cxn>
                <a:cxn ang="0">
                  <a:pos x="424" y="133"/>
                </a:cxn>
                <a:cxn ang="0">
                  <a:pos x="473" y="114"/>
                </a:cxn>
                <a:cxn ang="0">
                  <a:pos x="512" y="88"/>
                </a:cxn>
                <a:cxn ang="0">
                  <a:pos x="539" y="53"/>
                </a:cxn>
                <a:cxn ang="0">
                  <a:pos x="509" y="55"/>
                </a:cxn>
                <a:cxn ang="0">
                  <a:pos x="479" y="80"/>
                </a:cxn>
                <a:cxn ang="0">
                  <a:pos x="440" y="99"/>
                </a:cxn>
                <a:cxn ang="0">
                  <a:pos x="393" y="111"/>
                </a:cxn>
                <a:cxn ang="0">
                  <a:pos x="367" y="0"/>
                </a:cxn>
                <a:cxn ang="0">
                  <a:pos x="343" y="113"/>
                </a:cxn>
                <a:cxn ang="0">
                  <a:pos x="293" y="106"/>
                </a:cxn>
                <a:cxn ang="0">
                  <a:pos x="250" y="90"/>
                </a:cxn>
                <a:cxn ang="0">
                  <a:pos x="215" y="67"/>
                </a:cxn>
                <a:cxn ang="0">
                  <a:pos x="192" y="38"/>
                </a:cxn>
                <a:cxn ang="0">
                  <a:pos x="184" y="71"/>
                </a:cxn>
                <a:cxn ang="0">
                  <a:pos x="216" y="102"/>
                </a:cxn>
                <a:cxn ang="0">
                  <a:pos x="261" y="125"/>
                </a:cxn>
                <a:cxn ang="0">
                  <a:pos x="314" y="139"/>
                </a:cxn>
                <a:cxn ang="0">
                  <a:pos x="343" y="332"/>
                </a:cxn>
                <a:cxn ang="0">
                  <a:pos x="0" y="360"/>
                </a:cxn>
                <a:cxn ang="0">
                  <a:pos x="343" y="558"/>
                </a:cxn>
                <a:cxn ang="0">
                  <a:pos x="291" y="565"/>
                </a:cxn>
                <a:cxn ang="0">
                  <a:pos x="245" y="581"/>
                </a:cxn>
                <a:cxn ang="0">
                  <a:pos x="206" y="604"/>
                </a:cxn>
                <a:cxn ang="0">
                  <a:pos x="178" y="636"/>
                </a:cxn>
                <a:cxn ang="0">
                  <a:pos x="208" y="638"/>
                </a:cxn>
                <a:cxn ang="0">
                  <a:pos x="238" y="615"/>
                </a:cxn>
                <a:cxn ang="0">
                  <a:pos x="276" y="598"/>
                </a:cxn>
                <a:cxn ang="0">
                  <a:pos x="320" y="587"/>
                </a:cxn>
                <a:cxn ang="0">
                  <a:pos x="343" y="690"/>
                </a:cxn>
                <a:cxn ang="0">
                  <a:pos x="367" y="585"/>
                </a:cxn>
                <a:cxn ang="0">
                  <a:pos x="414" y="592"/>
                </a:cxn>
                <a:cxn ang="0">
                  <a:pos x="457" y="606"/>
                </a:cxn>
                <a:cxn ang="0">
                  <a:pos x="492" y="626"/>
                </a:cxn>
                <a:cxn ang="0">
                  <a:pos x="516" y="653"/>
                </a:cxn>
                <a:cxn ang="0">
                  <a:pos x="523" y="622"/>
                </a:cxn>
                <a:cxn ang="0">
                  <a:pos x="488" y="593"/>
                </a:cxn>
                <a:cxn ang="0">
                  <a:pos x="446" y="572"/>
                </a:cxn>
                <a:cxn ang="0">
                  <a:pos x="395" y="561"/>
                </a:cxn>
                <a:cxn ang="0">
                  <a:pos x="367" y="360"/>
                </a:cxn>
              </a:cxnLst>
              <a:rect l="0" t="0" r="r" b="b"/>
              <a:pathLst>
                <a:path w="707" h="690">
                  <a:moveTo>
                    <a:pt x="707" y="360"/>
                  </a:moveTo>
                  <a:lnTo>
                    <a:pt x="707" y="332"/>
                  </a:lnTo>
                  <a:lnTo>
                    <a:pt x="367" y="332"/>
                  </a:lnTo>
                  <a:lnTo>
                    <a:pt x="367" y="141"/>
                  </a:lnTo>
                  <a:lnTo>
                    <a:pt x="396" y="139"/>
                  </a:lnTo>
                  <a:lnTo>
                    <a:pt x="424" y="133"/>
                  </a:lnTo>
                  <a:lnTo>
                    <a:pt x="449" y="125"/>
                  </a:lnTo>
                  <a:lnTo>
                    <a:pt x="473" y="114"/>
                  </a:lnTo>
                  <a:lnTo>
                    <a:pt x="494" y="103"/>
                  </a:lnTo>
                  <a:lnTo>
                    <a:pt x="512" y="88"/>
                  </a:lnTo>
                  <a:lnTo>
                    <a:pt x="527" y="72"/>
                  </a:lnTo>
                  <a:lnTo>
                    <a:pt x="539" y="53"/>
                  </a:lnTo>
                  <a:lnTo>
                    <a:pt x="518" y="40"/>
                  </a:lnTo>
                  <a:lnTo>
                    <a:pt x="509" y="55"/>
                  </a:lnTo>
                  <a:lnTo>
                    <a:pt x="495" y="68"/>
                  </a:lnTo>
                  <a:lnTo>
                    <a:pt x="479" y="80"/>
                  </a:lnTo>
                  <a:lnTo>
                    <a:pt x="461" y="90"/>
                  </a:lnTo>
                  <a:lnTo>
                    <a:pt x="440" y="99"/>
                  </a:lnTo>
                  <a:lnTo>
                    <a:pt x="417" y="106"/>
                  </a:lnTo>
                  <a:lnTo>
                    <a:pt x="393" y="111"/>
                  </a:lnTo>
                  <a:lnTo>
                    <a:pt x="367" y="113"/>
                  </a:lnTo>
                  <a:lnTo>
                    <a:pt x="367" y="0"/>
                  </a:lnTo>
                  <a:lnTo>
                    <a:pt x="343" y="0"/>
                  </a:lnTo>
                  <a:lnTo>
                    <a:pt x="343" y="113"/>
                  </a:lnTo>
                  <a:lnTo>
                    <a:pt x="318" y="111"/>
                  </a:lnTo>
                  <a:lnTo>
                    <a:pt x="293" y="106"/>
                  </a:lnTo>
                  <a:lnTo>
                    <a:pt x="270" y="99"/>
                  </a:lnTo>
                  <a:lnTo>
                    <a:pt x="250" y="90"/>
                  </a:lnTo>
                  <a:lnTo>
                    <a:pt x="231" y="80"/>
                  </a:lnTo>
                  <a:lnTo>
                    <a:pt x="215" y="67"/>
                  </a:lnTo>
                  <a:lnTo>
                    <a:pt x="201" y="53"/>
                  </a:lnTo>
                  <a:lnTo>
                    <a:pt x="192" y="38"/>
                  </a:lnTo>
                  <a:lnTo>
                    <a:pt x="172" y="52"/>
                  </a:lnTo>
                  <a:lnTo>
                    <a:pt x="184" y="71"/>
                  </a:lnTo>
                  <a:lnTo>
                    <a:pt x="198" y="87"/>
                  </a:lnTo>
                  <a:lnTo>
                    <a:pt x="216" y="102"/>
                  </a:lnTo>
                  <a:lnTo>
                    <a:pt x="237" y="114"/>
                  </a:lnTo>
                  <a:lnTo>
                    <a:pt x="261" y="125"/>
                  </a:lnTo>
                  <a:lnTo>
                    <a:pt x="287" y="133"/>
                  </a:lnTo>
                  <a:lnTo>
                    <a:pt x="314" y="139"/>
                  </a:lnTo>
                  <a:lnTo>
                    <a:pt x="343" y="141"/>
                  </a:lnTo>
                  <a:lnTo>
                    <a:pt x="343" y="332"/>
                  </a:lnTo>
                  <a:lnTo>
                    <a:pt x="0" y="332"/>
                  </a:lnTo>
                  <a:lnTo>
                    <a:pt x="0" y="360"/>
                  </a:lnTo>
                  <a:lnTo>
                    <a:pt x="343" y="360"/>
                  </a:lnTo>
                  <a:lnTo>
                    <a:pt x="343" y="558"/>
                  </a:lnTo>
                  <a:lnTo>
                    <a:pt x="316" y="561"/>
                  </a:lnTo>
                  <a:lnTo>
                    <a:pt x="291" y="565"/>
                  </a:lnTo>
                  <a:lnTo>
                    <a:pt x="267" y="572"/>
                  </a:lnTo>
                  <a:lnTo>
                    <a:pt x="245" y="581"/>
                  </a:lnTo>
                  <a:lnTo>
                    <a:pt x="224" y="592"/>
                  </a:lnTo>
                  <a:lnTo>
                    <a:pt x="206" y="604"/>
                  </a:lnTo>
                  <a:lnTo>
                    <a:pt x="191" y="619"/>
                  </a:lnTo>
                  <a:lnTo>
                    <a:pt x="178" y="636"/>
                  </a:lnTo>
                  <a:lnTo>
                    <a:pt x="198" y="652"/>
                  </a:lnTo>
                  <a:lnTo>
                    <a:pt x="208" y="638"/>
                  </a:lnTo>
                  <a:lnTo>
                    <a:pt x="222" y="625"/>
                  </a:lnTo>
                  <a:lnTo>
                    <a:pt x="238" y="615"/>
                  </a:lnTo>
                  <a:lnTo>
                    <a:pt x="255" y="606"/>
                  </a:lnTo>
                  <a:lnTo>
                    <a:pt x="276" y="598"/>
                  </a:lnTo>
                  <a:lnTo>
                    <a:pt x="297" y="592"/>
                  </a:lnTo>
                  <a:lnTo>
                    <a:pt x="320" y="587"/>
                  </a:lnTo>
                  <a:lnTo>
                    <a:pt x="343" y="585"/>
                  </a:lnTo>
                  <a:lnTo>
                    <a:pt x="343" y="690"/>
                  </a:lnTo>
                  <a:lnTo>
                    <a:pt x="367" y="690"/>
                  </a:lnTo>
                  <a:lnTo>
                    <a:pt x="367" y="585"/>
                  </a:lnTo>
                  <a:lnTo>
                    <a:pt x="391" y="587"/>
                  </a:lnTo>
                  <a:lnTo>
                    <a:pt x="414" y="592"/>
                  </a:lnTo>
                  <a:lnTo>
                    <a:pt x="436" y="598"/>
                  </a:lnTo>
                  <a:lnTo>
                    <a:pt x="457" y="606"/>
                  </a:lnTo>
                  <a:lnTo>
                    <a:pt x="476" y="616"/>
                  </a:lnTo>
                  <a:lnTo>
                    <a:pt x="492" y="626"/>
                  </a:lnTo>
                  <a:lnTo>
                    <a:pt x="505" y="639"/>
                  </a:lnTo>
                  <a:lnTo>
                    <a:pt x="516" y="653"/>
                  </a:lnTo>
                  <a:lnTo>
                    <a:pt x="534" y="638"/>
                  </a:lnTo>
                  <a:lnTo>
                    <a:pt x="523" y="622"/>
                  </a:lnTo>
                  <a:lnTo>
                    <a:pt x="507" y="607"/>
                  </a:lnTo>
                  <a:lnTo>
                    <a:pt x="488" y="593"/>
                  </a:lnTo>
                  <a:lnTo>
                    <a:pt x="469" y="581"/>
                  </a:lnTo>
                  <a:lnTo>
                    <a:pt x="446" y="572"/>
                  </a:lnTo>
                  <a:lnTo>
                    <a:pt x="420" y="565"/>
                  </a:lnTo>
                  <a:lnTo>
                    <a:pt x="395" y="561"/>
                  </a:lnTo>
                  <a:lnTo>
                    <a:pt x="367" y="558"/>
                  </a:lnTo>
                  <a:lnTo>
                    <a:pt x="367" y="360"/>
                  </a:lnTo>
                  <a:lnTo>
                    <a:pt x="707" y="360"/>
                  </a:lnTo>
                  <a:close/>
                </a:path>
              </a:pathLst>
            </a:custGeom>
            <a:solidFill>
              <a:schemeClr val="bg1"/>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2" name="Freeform 128"/>
            <p:cNvSpPr>
              <a:spLocks/>
            </p:cNvSpPr>
            <p:nvPr/>
          </p:nvSpPr>
          <p:spPr bwMode="auto">
            <a:xfrm>
              <a:off x="9164448" y="5351463"/>
              <a:ext cx="20637" cy="22225"/>
            </a:xfrm>
            <a:custGeom>
              <a:avLst/>
              <a:gdLst/>
              <a:ahLst/>
              <a:cxnLst>
                <a:cxn ang="0">
                  <a:pos x="4" y="29"/>
                </a:cxn>
                <a:cxn ang="0">
                  <a:pos x="27" y="23"/>
                </a:cxn>
                <a:cxn ang="0">
                  <a:pos x="26" y="17"/>
                </a:cxn>
                <a:cxn ang="0">
                  <a:pos x="25" y="12"/>
                </a:cxn>
                <a:cxn ang="0">
                  <a:pos x="22" y="6"/>
                </a:cxn>
                <a:cxn ang="0">
                  <a:pos x="21" y="0"/>
                </a:cxn>
                <a:cxn ang="0">
                  <a:pos x="0" y="13"/>
                </a:cxn>
                <a:cxn ang="0">
                  <a:pos x="2" y="17"/>
                </a:cxn>
                <a:cxn ang="0">
                  <a:pos x="3" y="21"/>
                </a:cxn>
                <a:cxn ang="0">
                  <a:pos x="3" y="25"/>
                </a:cxn>
                <a:cxn ang="0">
                  <a:pos x="4" y="29"/>
                </a:cxn>
              </a:cxnLst>
              <a:rect l="0" t="0" r="r" b="b"/>
              <a:pathLst>
                <a:path w="27" h="29">
                  <a:moveTo>
                    <a:pt x="4" y="29"/>
                  </a:moveTo>
                  <a:lnTo>
                    <a:pt x="27" y="23"/>
                  </a:lnTo>
                  <a:lnTo>
                    <a:pt x="26" y="17"/>
                  </a:lnTo>
                  <a:lnTo>
                    <a:pt x="25" y="12"/>
                  </a:lnTo>
                  <a:lnTo>
                    <a:pt x="22" y="6"/>
                  </a:lnTo>
                  <a:lnTo>
                    <a:pt x="21" y="0"/>
                  </a:lnTo>
                  <a:lnTo>
                    <a:pt x="0" y="13"/>
                  </a:lnTo>
                  <a:lnTo>
                    <a:pt x="2" y="17"/>
                  </a:lnTo>
                  <a:lnTo>
                    <a:pt x="3" y="21"/>
                  </a:lnTo>
                  <a:lnTo>
                    <a:pt x="3" y="25"/>
                  </a:lnTo>
                  <a:lnTo>
                    <a:pt x="4" y="29"/>
                  </a:lnTo>
                  <a:close/>
                </a:path>
              </a:pathLst>
            </a:custGeom>
            <a:solidFill>
              <a:schemeClr val="bg1"/>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3" name="Freeform 129"/>
            <p:cNvSpPr>
              <a:spLocks/>
            </p:cNvSpPr>
            <p:nvPr/>
          </p:nvSpPr>
          <p:spPr bwMode="auto">
            <a:xfrm>
              <a:off x="8869173" y="5192713"/>
              <a:ext cx="327025" cy="568325"/>
            </a:xfrm>
            <a:custGeom>
              <a:avLst/>
              <a:gdLst/>
              <a:ahLst/>
              <a:cxnLst>
                <a:cxn ang="0">
                  <a:pos x="387" y="293"/>
                </a:cxn>
                <a:cxn ang="0">
                  <a:pos x="387" y="426"/>
                </a:cxn>
                <a:cxn ang="0">
                  <a:pos x="337" y="593"/>
                </a:cxn>
                <a:cxn ang="0">
                  <a:pos x="245" y="683"/>
                </a:cxn>
                <a:cxn ang="0">
                  <a:pos x="182" y="686"/>
                </a:cxn>
                <a:cxn ang="0">
                  <a:pos x="144" y="670"/>
                </a:cxn>
                <a:cxn ang="0">
                  <a:pos x="110" y="639"/>
                </a:cxn>
                <a:cxn ang="0">
                  <a:pos x="59" y="554"/>
                </a:cxn>
                <a:cxn ang="0">
                  <a:pos x="30" y="443"/>
                </a:cxn>
                <a:cxn ang="0">
                  <a:pos x="26" y="318"/>
                </a:cxn>
                <a:cxn ang="0">
                  <a:pos x="46" y="200"/>
                </a:cxn>
                <a:cxn ang="0">
                  <a:pos x="90" y="105"/>
                </a:cxn>
                <a:cxn ang="0">
                  <a:pos x="133" y="57"/>
                </a:cxn>
                <a:cxn ang="0">
                  <a:pos x="170" y="35"/>
                </a:cxn>
                <a:cxn ang="0">
                  <a:pos x="208" y="28"/>
                </a:cxn>
                <a:cxn ang="0">
                  <a:pos x="246" y="35"/>
                </a:cxn>
                <a:cxn ang="0">
                  <a:pos x="283" y="57"/>
                </a:cxn>
                <a:cxn ang="0">
                  <a:pos x="315" y="93"/>
                </a:cxn>
                <a:cxn ang="0">
                  <a:pos x="344" y="139"/>
                </a:cxn>
                <a:cxn ang="0">
                  <a:pos x="367" y="194"/>
                </a:cxn>
                <a:cxn ang="0">
                  <a:pos x="386" y="180"/>
                </a:cxn>
                <a:cxn ang="0">
                  <a:pos x="363" y="123"/>
                </a:cxn>
                <a:cxn ang="0">
                  <a:pos x="333" y="74"/>
                </a:cxn>
                <a:cxn ang="0">
                  <a:pos x="295" y="35"/>
                </a:cxn>
                <a:cxn ang="0">
                  <a:pos x="253" y="9"/>
                </a:cxn>
                <a:cxn ang="0">
                  <a:pos x="208" y="0"/>
                </a:cxn>
                <a:cxn ang="0">
                  <a:pos x="147" y="17"/>
                </a:cxn>
                <a:cxn ang="0">
                  <a:pos x="92" y="62"/>
                </a:cxn>
                <a:cxn ang="0">
                  <a:pos x="47" y="132"/>
                </a:cxn>
                <a:cxn ang="0">
                  <a:pos x="16" y="221"/>
                </a:cxn>
                <a:cxn ang="0">
                  <a:pos x="1" y="323"/>
                </a:cxn>
                <a:cxn ang="0">
                  <a:pos x="6" y="449"/>
                </a:cxn>
                <a:cxn ang="0">
                  <a:pos x="38" y="567"/>
                </a:cxn>
                <a:cxn ang="0">
                  <a:pos x="92" y="659"/>
                </a:cxn>
                <a:cxn ang="0">
                  <a:pos x="133" y="695"/>
                </a:cxn>
                <a:cxn ang="0">
                  <a:pos x="177" y="714"/>
                </a:cxn>
                <a:cxn ang="0">
                  <a:pos x="223" y="716"/>
                </a:cxn>
                <a:cxn ang="0">
                  <a:pos x="268" y="703"/>
                </a:cxn>
                <a:cxn ang="0">
                  <a:pos x="309" y="673"/>
                </a:cxn>
                <a:cxn ang="0">
                  <a:pos x="361" y="601"/>
                </a:cxn>
                <a:cxn ang="0">
                  <a:pos x="400" y="490"/>
                </a:cxn>
                <a:cxn ang="0">
                  <a:pos x="414" y="360"/>
                </a:cxn>
                <a:cxn ang="0">
                  <a:pos x="406" y="256"/>
                </a:cxn>
              </a:cxnLst>
              <a:rect l="0" t="0" r="r" b="b"/>
              <a:pathLst>
                <a:path w="414" h="718">
                  <a:moveTo>
                    <a:pt x="376" y="230"/>
                  </a:moveTo>
                  <a:lnTo>
                    <a:pt x="382" y="261"/>
                  </a:lnTo>
                  <a:lnTo>
                    <a:pt x="387" y="293"/>
                  </a:lnTo>
                  <a:lnTo>
                    <a:pt x="390" y="326"/>
                  </a:lnTo>
                  <a:lnTo>
                    <a:pt x="391" y="360"/>
                  </a:lnTo>
                  <a:lnTo>
                    <a:pt x="387" y="426"/>
                  </a:lnTo>
                  <a:lnTo>
                    <a:pt x="376" y="488"/>
                  </a:lnTo>
                  <a:lnTo>
                    <a:pt x="360" y="544"/>
                  </a:lnTo>
                  <a:lnTo>
                    <a:pt x="337" y="593"/>
                  </a:lnTo>
                  <a:lnTo>
                    <a:pt x="310" y="633"/>
                  </a:lnTo>
                  <a:lnTo>
                    <a:pt x="279" y="663"/>
                  </a:lnTo>
                  <a:lnTo>
                    <a:pt x="245" y="683"/>
                  </a:lnTo>
                  <a:lnTo>
                    <a:pt x="208" y="690"/>
                  </a:lnTo>
                  <a:lnTo>
                    <a:pt x="195" y="689"/>
                  </a:lnTo>
                  <a:lnTo>
                    <a:pt x="182" y="686"/>
                  </a:lnTo>
                  <a:lnTo>
                    <a:pt x="170" y="683"/>
                  </a:lnTo>
                  <a:lnTo>
                    <a:pt x="157" y="677"/>
                  </a:lnTo>
                  <a:lnTo>
                    <a:pt x="144" y="670"/>
                  </a:lnTo>
                  <a:lnTo>
                    <a:pt x="133" y="661"/>
                  </a:lnTo>
                  <a:lnTo>
                    <a:pt x="121" y="651"/>
                  </a:lnTo>
                  <a:lnTo>
                    <a:pt x="110" y="639"/>
                  </a:lnTo>
                  <a:lnTo>
                    <a:pt x="90" y="614"/>
                  </a:lnTo>
                  <a:lnTo>
                    <a:pt x="74" y="586"/>
                  </a:lnTo>
                  <a:lnTo>
                    <a:pt x="59" y="554"/>
                  </a:lnTo>
                  <a:lnTo>
                    <a:pt x="46" y="519"/>
                  </a:lnTo>
                  <a:lnTo>
                    <a:pt x="37" y="482"/>
                  </a:lnTo>
                  <a:lnTo>
                    <a:pt x="30" y="443"/>
                  </a:lnTo>
                  <a:lnTo>
                    <a:pt x="26" y="403"/>
                  </a:lnTo>
                  <a:lnTo>
                    <a:pt x="24" y="360"/>
                  </a:lnTo>
                  <a:lnTo>
                    <a:pt x="26" y="318"/>
                  </a:lnTo>
                  <a:lnTo>
                    <a:pt x="30" y="277"/>
                  </a:lnTo>
                  <a:lnTo>
                    <a:pt x="37" y="238"/>
                  </a:lnTo>
                  <a:lnTo>
                    <a:pt x="46" y="200"/>
                  </a:lnTo>
                  <a:lnTo>
                    <a:pt x="59" y="165"/>
                  </a:lnTo>
                  <a:lnTo>
                    <a:pt x="74" y="133"/>
                  </a:lnTo>
                  <a:lnTo>
                    <a:pt x="90" y="105"/>
                  </a:lnTo>
                  <a:lnTo>
                    <a:pt x="110" y="80"/>
                  </a:lnTo>
                  <a:lnTo>
                    <a:pt x="121" y="67"/>
                  </a:lnTo>
                  <a:lnTo>
                    <a:pt x="133" y="57"/>
                  </a:lnTo>
                  <a:lnTo>
                    <a:pt x="144" y="49"/>
                  </a:lnTo>
                  <a:lnTo>
                    <a:pt x="157" y="41"/>
                  </a:lnTo>
                  <a:lnTo>
                    <a:pt x="170" y="35"/>
                  </a:lnTo>
                  <a:lnTo>
                    <a:pt x="182" y="32"/>
                  </a:lnTo>
                  <a:lnTo>
                    <a:pt x="195" y="29"/>
                  </a:lnTo>
                  <a:lnTo>
                    <a:pt x="208" y="28"/>
                  </a:lnTo>
                  <a:lnTo>
                    <a:pt x="220" y="29"/>
                  </a:lnTo>
                  <a:lnTo>
                    <a:pt x="233" y="32"/>
                  </a:lnTo>
                  <a:lnTo>
                    <a:pt x="246" y="35"/>
                  </a:lnTo>
                  <a:lnTo>
                    <a:pt x="258" y="41"/>
                  </a:lnTo>
                  <a:lnTo>
                    <a:pt x="270" y="49"/>
                  </a:lnTo>
                  <a:lnTo>
                    <a:pt x="283" y="57"/>
                  </a:lnTo>
                  <a:lnTo>
                    <a:pt x="293" y="67"/>
                  </a:lnTo>
                  <a:lnTo>
                    <a:pt x="304" y="80"/>
                  </a:lnTo>
                  <a:lnTo>
                    <a:pt x="315" y="93"/>
                  </a:lnTo>
                  <a:lnTo>
                    <a:pt x="325" y="108"/>
                  </a:lnTo>
                  <a:lnTo>
                    <a:pt x="336" y="123"/>
                  </a:lnTo>
                  <a:lnTo>
                    <a:pt x="344" y="139"/>
                  </a:lnTo>
                  <a:lnTo>
                    <a:pt x="352" y="156"/>
                  </a:lnTo>
                  <a:lnTo>
                    <a:pt x="360" y="175"/>
                  </a:lnTo>
                  <a:lnTo>
                    <a:pt x="367" y="194"/>
                  </a:lnTo>
                  <a:lnTo>
                    <a:pt x="372" y="214"/>
                  </a:lnTo>
                  <a:lnTo>
                    <a:pt x="393" y="201"/>
                  </a:lnTo>
                  <a:lnTo>
                    <a:pt x="386" y="180"/>
                  </a:lnTo>
                  <a:lnTo>
                    <a:pt x="379" y="161"/>
                  </a:lnTo>
                  <a:lnTo>
                    <a:pt x="371" y="141"/>
                  </a:lnTo>
                  <a:lnTo>
                    <a:pt x="363" y="123"/>
                  </a:lnTo>
                  <a:lnTo>
                    <a:pt x="354" y="105"/>
                  </a:lnTo>
                  <a:lnTo>
                    <a:pt x="344" y="89"/>
                  </a:lnTo>
                  <a:lnTo>
                    <a:pt x="333" y="74"/>
                  </a:lnTo>
                  <a:lnTo>
                    <a:pt x="322" y="60"/>
                  </a:lnTo>
                  <a:lnTo>
                    <a:pt x="309" y="47"/>
                  </a:lnTo>
                  <a:lnTo>
                    <a:pt x="295" y="35"/>
                  </a:lnTo>
                  <a:lnTo>
                    <a:pt x="281" y="25"/>
                  </a:lnTo>
                  <a:lnTo>
                    <a:pt x="268" y="15"/>
                  </a:lnTo>
                  <a:lnTo>
                    <a:pt x="253" y="9"/>
                  </a:lnTo>
                  <a:lnTo>
                    <a:pt x="238" y="4"/>
                  </a:lnTo>
                  <a:lnTo>
                    <a:pt x="223" y="2"/>
                  </a:lnTo>
                  <a:lnTo>
                    <a:pt x="208" y="0"/>
                  </a:lnTo>
                  <a:lnTo>
                    <a:pt x="187" y="3"/>
                  </a:lnTo>
                  <a:lnTo>
                    <a:pt x="166" y="7"/>
                  </a:lnTo>
                  <a:lnTo>
                    <a:pt x="147" y="17"/>
                  </a:lnTo>
                  <a:lnTo>
                    <a:pt x="127" y="29"/>
                  </a:lnTo>
                  <a:lnTo>
                    <a:pt x="109" y="44"/>
                  </a:lnTo>
                  <a:lnTo>
                    <a:pt x="92" y="62"/>
                  </a:lnTo>
                  <a:lnTo>
                    <a:pt x="76" y="82"/>
                  </a:lnTo>
                  <a:lnTo>
                    <a:pt x="61" y="105"/>
                  </a:lnTo>
                  <a:lnTo>
                    <a:pt x="47" y="132"/>
                  </a:lnTo>
                  <a:lnTo>
                    <a:pt x="36" y="160"/>
                  </a:lnTo>
                  <a:lnTo>
                    <a:pt x="26" y="188"/>
                  </a:lnTo>
                  <a:lnTo>
                    <a:pt x="16" y="221"/>
                  </a:lnTo>
                  <a:lnTo>
                    <a:pt x="9" y="253"/>
                  </a:lnTo>
                  <a:lnTo>
                    <a:pt x="5" y="288"/>
                  </a:lnTo>
                  <a:lnTo>
                    <a:pt x="1" y="323"/>
                  </a:lnTo>
                  <a:lnTo>
                    <a:pt x="0" y="360"/>
                  </a:lnTo>
                  <a:lnTo>
                    <a:pt x="1" y="405"/>
                  </a:lnTo>
                  <a:lnTo>
                    <a:pt x="6" y="449"/>
                  </a:lnTo>
                  <a:lnTo>
                    <a:pt x="14" y="490"/>
                  </a:lnTo>
                  <a:lnTo>
                    <a:pt x="24" y="530"/>
                  </a:lnTo>
                  <a:lnTo>
                    <a:pt x="38" y="567"/>
                  </a:lnTo>
                  <a:lnTo>
                    <a:pt x="53" y="601"/>
                  </a:lnTo>
                  <a:lnTo>
                    <a:pt x="72" y="632"/>
                  </a:lnTo>
                  <a:lnTo>
                    <a:pt x="92" y="659"/>
                  </a:lnTo>
                  <a:lnTo>
                    <a:pt x="105" y="673"/>
                  </a:lnTo>
                  <a:lnTo>
                    <a:pt x="119" y="684"/>
                  </a:lnTo>
                  <a:lnTo>
                    <a:pt x="133" y="695"/>
                  </a:lnTo>
                  <a:lnTo>
                    <a:pt x="148" y="703"/>
                  </a:lnTo>
                  <a:lnTo>
                    <a:pt x="162" y="710"/>
                  </a:lnTo>
                  <a:lnTo>
                    <a:pt x="177" y="714"/>
                  </a:lnTo>
                  <a:lnTo>
                    <a:pt x="193" y="716"/>
                  </a:lnTo>
                  <a:lnTo>
                    <a:pt x="208" y="718"/>
                  </a:lnTo>
                  <a:lnTo>
                    <a:pt x="223" y="716"/>
                  </a:lnTo>
                  <a:lnTo>
                    <a:pt x="238" y="714"/>
                  </a:lnTo>
                  <a:lnTo>
                    <a:pt x="253" y="710"/>
                  </a:lnTo>
                  <a:lnTo>
                    <a:pt x="268" y="703"/>
                  </a:lnTo>
                  <a:lnTo>
                    <a:pt x="281" y="695"/>
                  </a:lnTo>
                  <a:lnTo>
                    <a:pt x="295" y="684"/>
                  </a:lnTo>
                  <a:lnTo>
                    <a:pt x="309" y="673"/>
                  </a:lnTo>
                  <a:lnTo>
                    <a:pt x="322" y="659"/>
                  </a:lnTo>
                  <a:lnTo>
                    <a:pt x="343" y="632"/>
                  </a:lnTo>
                  <a:lnTo>
                    <a:pt x="361" y="601"/>
                  </a:lnTo>
                  <a:lnTo>
                    <a:pt x="376" y="567"/>
                  </a:lnTo>
                  <a:lnTo>
                    <a:pt x="390" y="530"/>
                  </a:lnTo>
                  <a:lnTo>
                    <a:pt x="400" y="490"/>
                  </a:lnTo>
                  <a:lnTo>
                    <a:pt x="408" y="449"/>
                  </a:lnTo>
                  <a:lnTo>
                    <a:pt x="413" y="405"/>
                  </a:lnTo>
                  <a:lnTo>
                    <a:pt x="414" y="360"/>
                  </a:lnTo>
                  <a:lnTo>
                    <a:pt x="413" y="324"/>
                  </a:lnTo>
                  <a:lnTo>
                    <a:pt x="411" y="290"/>
                  </a:lnTo>
                  <a:lnTo>
                    <a:pt x="406" y="256"/>
                  </a:lnTo>
                  <a:lnTo>
                    <a:pt x="399" y="224"/>
                  </a:lnTo>
                  <a:lnTo>
                    <a:pt x="376" y="230"/>
                  </a:lnTo>
                  <a:close/>
                </a:path>
              </a:pathLst>
            </a:custGeom>
            <a:solidFill>
              <a:schemeClr val="bg1"/>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endParaRPr lang="en-US"/>
            </a:p>
          </p:txBody>
        </p:sp>
      </p:grpSp>
      <p:pic>
        <p:nvPicPr>
          <p:cNvPr id="141" name="Picture 140" descr="openstack-cloud-software-horizontal.png"/>
          <p:cNvPicPr>
            <a:picLocks noChangeAspect="1"/>
          </p:cNvPicPr>
          <p:nvPr/>
        </p:nvPicPr>
        <p:blipFill>
          <a:blip r:embed="rId4" cstate="print"/>
          <a:stretch>
            <a:fillRect/>
          </a:stretch>
        </p:blipFill>
        <p:spPr>
          <a:xfrm>
            <a:off x="6818069" y="4102989"/>
            <a:ext cx="4612005" cy="2108835"/>
          </a:xfrm>
          <a:prstGeom prst="rect">
            <a:avLst/>
          </a:prstGeom>
        </p:spPr>
      </p:pic>
    </p:spTree>
    <p:extLst>
      <p:ext uri="{BB962C8B-B14F-4D97-AF65-F5344CB8AC3E}">
        <p14:creationId xmlns:p14="http://schemas.microsoft.com/office/powerpoint/2010/main" xmlns="" val="1880480028"/>
      </p:ext>
    </p:extLst>
  </p:cSld>
  <p:clrMapOvr>
    <a:masterClrMapping/>
  </p:clrMapOvr>
  <p:transition advClick="0" advTm="15000"/>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a:xfrm>
            <a:off x="0" y="0"/>
            <a:ext cx="11766550" cy="1703388"/>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650001" fontAlgn="auto">
              <a:spcBef>
                <a:spcPts val="0"/>
              </a:spcBef>
              <a:spcAft>
                <a:spcPts val="0"/>
              </a:spcAft>
              <a:defRPr/>
            </a:pPr>
            <a:endParaRPr lang="en-US">
              <a:solidFill>
                <a:schemeClr val="bg1">
                  <a:lumMod val="95000"/>
                </a:schemeClr>
              </a:solidFill>
            </a:endParaRPr>
          </a:p>
        </p:txBody>
      </p:sp>
      <p:sp>
        <p:nvSpPr>
          <p:cNvPr id="10" name="Rectangle 9"/>
          <p:cNvSpPr/>
          <p:nvPr/>
        </p:nvSpPr>
        <p:spPr>
          <a:xfrm>
            <a:off x="0" y="1752600"/>
            <a:ext cx="13003213" cy="2752725"/>
          </a:xfrm>
          <a:prstGeom prst="rect">
            <a:avLst/>
          </a:prstGeom>
          <a:solidFill>
            <a:srgbClr val="B6261F"/>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650001" fontAlgn="auto">
              <a:spcBef>
                <a:spcPts val="0"/>
              </a:spcBef>
              <a:spcAft>
                <a:spcPts val="0"/>
              </a:spcAft>
              <a:defRPr/>
            </a:pPr>
            <a:endParaRPr lang="en-US"/>
          </a:p>
        </p:txBody>
      </p:sp>
      <p:pic>
        <p:nvPicPr>
          <p:cNvPr id="14339" name="Picture 3" descr="openstack-cloud-software-horizontal-cmyk.png"/>
          <p:cNvPicPr>
            <a:picLocks noChangeAspect="1"/>
          </p:cNvPicPr>
          <p:nvPr/>
        </p:nvPicPr>
        <p:blipFill>
          <a:blip r:embed="rId3" cstate="print"/>
          <a:srcRect/>
          <a:stretch>
            <a:fillRect/>
          </a:stretch>
        </p:blipFill>
        <p:spPr bwMode="auto">
          <a:xfrm>
            <a:off x="11860213" y="584200"/>
            <a:ext cx="942975" cy="868363"/>
          </a:xfrm>
          <a:prstGeom prst="rect">
            <a:avLst/>
          </a:prstGeom>
          <a:noFill/>
          <a:ln w="9525">
            <a:noFill/>
            <a:miter lim="800000"/>
            <a:headEnd/>
            <a:tailEnd/>
          </a:ln>
        </p:spPr>
      </p:pic>
      <p:sp>
        <p:nvSpPr>
          <p:cNvPr id="5" name="TextBox 4"/>
          <p:cNvSpPr txBox="1"/>
          <p:nvPr/>
        </p:nvSpPr>
        <p:spPr>
          <a:xfrm>
            <a:off x="654050" y="649288"/>
            <a:ext cx="10283825" cy="615950"/>
          </a:xfrm>
          <a:prstGeom prst="rect">
            <a:avLst/>
          </a:prstGeom>
          <a:noFill/>
        </p:spPr>
        <p:txBody>
          <a:bodyPr>
            <a:spAutoFit/>
          </a:bodyPr>
          <a:lstStyle/>
          <a:p>
            <a:pPr defTabSz="650001" fontAlgn="auto">
              <a:spcBef>
                <a:spcPts val="0"/>
              </a:spcBef>
              <a:spcAft>
                <a:spcPts val="0"/>
              </a:spcAft>
              <a:defRPr/>
            </a:pPr>
            <a:r>
              <a:rPr lang="en-US" sz="3400" b="1" dirty="0">
                <a:solidFill>
                  <a:schemeClr val="tx1">
                    <a:lumMod val="75000"/>
                    <a:lumOff val="25000"/>
                  </a:schemeClr>
                </a:solidFill>
                <a:latin typeface="Helvetica Neue" charset="0"/>
              </a:rPr>
              <a:t>Deutsche Telekom </a:t>
            </a:r>
            <a:r>
              <a:rPr lang="en-US" sz="3400" dirty="0">
                <a:solidFill>
                  <a:schemeClr val="tx1">
                    <a:lumMod val="75000"/>
                    <a:lumOff val="25000"/>
                  </a:schemeClr>
                </a:solidFill>
                <a:latin typeface="Helvetica Neue" charset="0"/>
              </a:rPr>
              <a:t>uses OpenStack</a:t>
            </a:r>
          </a:p>
        </p:txBody>
      </p:sp>
      <p:sp>
        <p:nvSpPr>
          <p:cNvPr id="14341" name="Text Box 2"/>
          <p:cNvSpPr txBox="1">
            <a:spLocks noChangeArrowheads="1"/>
          </p:cNvSpPr>
          <p:nvPr/>
        </p:nvSpPr>
        <p:spPr bwMode="auto">
          <a:xfrm>
            <a:off x="5900738" y="6183313"/>
            <a:ext cx="6677025" cy="3217862"/>
          </a:xfrm>
          <a:prstGeom prst="rect">
            <a:avLst/>
          </a:prstGeom>
          <a:noFill/>
          <a:ln w="9525">
            <a:noFill/>
            <a:miter lim="800000"/>
            <a:headEnd/>
            <a:tailEnd/>
          </a:ln>
        </p:spPr>
        <p:txBody>
          <a:bodyPr lIns="50760" tIns="50760" rIns="50760" bIns="50760"/>
          <a:lstStyle/>
          <a:p>
            <a:pPr marL="315913" indent="-315913">
              <a:spcBef>
                <a:spcPts val="1200"/>
              </a:spcBef>
              <a:buClr>
                <a:srgbClr val="AF1C1C"/>
              </a:buClr>
              <a:buSzPct val="60000"/>
              <a:buFont typeface="Lucida Grande"/>
              <a:buChar char="‣"/>
              <a:tabLst>
                <a:tab pos="911225" algn="l"/>
                <a:tab pos="1825625" algn="l"/>
                <a:tab pos="2740025" algn="l"/>
                <a:tab pos="3654425" algn="l"/>
                <a:tab pos="4568825" algn="l"/>
                <a:tab pos="5483225" algn="l"/>
                <a:tab pos="6397625" algn="l"/>
                <a:tab pos="7312025" algn="l"/>
                <a:tab pos="8226425" algn="l"/>
                <a:tab pos="9140825" algn="l"/>
                <a:tab pos="10055225" algn="l"/>
              </a:tabLst>
            </a:pPr>
            <a:r>
              <a:rPr lang="en-US" sz="2000">
                <a:solidFill>
                  <a:srgbClr val="404040"/>
                </a:solidFill>
                <a:latin typeface="Helvetica Neue"/>
                <a:ea typeface="ヒラギノ角ゴ ProN W3"/>
                <a:cs typeface="ヒラギノ角ゴ ProN W3"/>
              </a:rPr>
              <a:t>Offering SaaS business applications from software partners (ISVs) to SMBs</a:t>
            </a:r>
          </a:p>
          <a:p>
            <a:pPr lvl="1" indent="0">
              <a:spcBef>
                <a:spcPts val="1200"/>
              </a:spcBef>
              <a:buClr>
                <a:srgbClr val="AF1C1C"/>
              </a:buClr>
              <a:buSzPct val="60000"/>
              <a:buFont typeface="Lucida Grande"/>
              <a:buChar char="‣"/>
              <a:tabLst>
                <a:tab pos="911225" algn="l"/>
                <a:tab pos="1825625" algn="l"/>
                <a:tab pos="2740025" algn="l"/>
                <a:tab pos="3654425" algn="l"/>
                <a:tab pos="4568825" algn="l"/>
                <a:tab pos="5483225" algn="l"/>
                <a:tab pos="6397625" algn="l"/>
                <a:tab pos="7312025" algn="l"/>
                <a:tab pos="8226425" algn="l"/>
                <a:tab pos="9140825" algn="l"/>
                <a:tab pos="10055225" algn="l"/>
              </a:tabLst>
            </a:pPr>
            <a:r>
              <a:rPr lang="en-US" sz="2000">
                <a:solidFill>
                  <a:srgbClr val="404040"/>
                </a:solidFill>
                <a:latin typeface="Helvetica Neue"/>
                <a:ea typeface="ヒラギノ角ゴ ProN W3"/>
                <a:cs typeface="ヒラギノ角ゴ ProN W3"/>
              </a:rPr>
              <a:t> OpenStack standard APIs result in faster partner onboarding</a:t>
            </a:r>
          </a:p>
          <a:p>
            <a:pPr marL="315913" indent="-315913">
              <a:spcBef>
                <a:spcPts val="1200"/>
              </a:spcBef>
              <a:buClr>
                <a:srgbClr val="AF1C1C"/>
              </a:buClr>
              <a:buSzPct val="60000"/>
              <a:buFont typeface="Lucida Grande"/>
              <a:buChar char="‣"/>
              <a:tabLst>
                <a:tab pos="911225" algn="l"/>
                <a:tab pos="1825625" algn="l"/>
                <a:tab pos="2740025" algn="l"/>
                <a:tab pos="3654425" algn="l"/>
                <a:tab pos="4568825" algn="l"/>
                <a:tab pos="5483225" algn="l"/>
                <a:tab pos="6397625" algn="l"/>
                <a:tab pos="7312025" algn="l"/>
                <a:tab pos="8226425" algn="l"/>
                <a:tab pos="9140825" algn="l"/>
                <a:tab pos="10055225" algn="l"/>
              </a:tabLst>
            </a:pPr>
            <a:r>
              <a:rPr lang="en-US" sz="2000">
                <a:solidFill>
                  <a:srgbClr val="404040"/>
                </a:solidFill>
                <a:latin typeface="Helvetica Neue"/>
                <a:ea typeface="ヒラギノ角ゴ ProN W3"/>
                <a:cs typeface="ヒラギノ角ゴ ProN W3"/>
              </a:rPr>
              <a:t>Deutsche Telekom addresses SMB IT challenges and cloud concerns by taking end-to-end responsibility for the offerings for a per month per user payment</a:t>
            </a:r>
          </a:p>
          <a:p>
            <a:pPr marL="315913" indent="-315913">
              <a:spcBef>
                <a:spcPts val="1200"/>
              </a:spcBef>
              <a:buClr>
                <a:srgbClr val="AF1C1C"/>
              </a:buClr>
              <a:buSzPct val="60000"/>
              <a:buFont typeface="Lucida Grande"/>
              <a:buChar char="‣"/>
              <a:tabLst>
                <a:tab pos="911225" algn="l"/>
                <a:tab pos="1825625" algn="l"/>
                <a:tab pos="2740025" algn="l"/>
                <a:tab pos="3654425" algn="l"/>
                <a:tab pos="4568825" algn="l"/>
                <a:tab pos="5483225" algn="l"/>
                <a:tab pos="6397625" algn="l"/>
                <a:tab pos="7312025" algn="l"/>
                <a:tab pos="8226425" algn="l"/>
                <a:tab pos="9140825" algn="l"/>
                <a:tab pos="10055225" algn="l"/>
              </a:tabLst>
            </a:pPr>
            <a:r>
              <a:rPr lang="en-US" sz="2000">
                <a:solidFill>
                  <a:srgbClr val="404040"/>
                </a:solidFill>
                <a:latin typeface="Helvetica Neue"/>
                <a:ea typeface="ヒラギノ角ゴ ProN W3"/>
                <a:cs typeface="ヒラギノ角ゴ ProN W3"/>
              </a:rPr>
              <a:t>OpenStack IaaS adopted for scalability, lower cost, vibrant community, and widespread industry adoption</a:t>
            </a:r>
          </a:p>
          <a:p>
            <a:pPr marL="315913" indent="-315913">
              <a:spcBef>
                <a:spcPts val="1200"/>
              </a:spcBef>
              <a:buClr>
                <a:srgbClr val="AF1C1C"/>
              </a:buClr>
              <a:buSzPct val="60000"/>
              <a:buFont typeface="Lucida Grande"/>
              <a:buChar char="‣"/>
              <a:tabLst>
                <a:tab pos="911225" algn="l"/>
                <a:tab pos="1825625" algn="l"/>
                <a:tab pos="2740025" algn="l"/>
                <a:tab pos="3654425" algn="l"/>
                <a:tab pos="4568825" algn="l"/>
                <a:tab pos="5483225" algn="l"/>
                <a:tab pos="6397625" algn="l"/>
                <a:tab pos="7312025" algn="l"/>
                <a:tab pos="8226425" algn="l"/>
                <a:tab pos="9140825" algn="l"/>
                <a:tab pos="10055225" algn="l"/>
              </a:tabLst>
            </a:pPr>
            <a:endParaRPr lang="en-US" sz="2000">
              <a:solidFill>
                <a:srgbClr val="404040"/>
              </a:solidFill>
              <a:latin typeface="Helvetica Neue"/>
              <a:ea typeface="ヒラギノ角ゴ ProN W3"/>
              <a:cs typeface="ヒラギノ角ゴ ProN W3"/>
            </a:endParaRPr>
          </a:p>
          <a:p>
            <a:pPr marL="315913" indent="-315913">
              <a:spcBef>
                <a:spcPts val="1200"/>
              </a:spcBef>
              <a:buClr>
                <a:srgbClr val="AF1C1C"/>
              </a:buClr>
              <a:buSzPct val="60000"/>
              <a:buFont typeface="Lucida Grande"/>
              <a:buChar char="‣"/>
              <a:tabLst>
                <a:tab pos="911225" algn="l"/>
                <a:tab pos="1825625" algn="l"/>
                <a:tab pos="2740025" algn="l"/>
                <a:tab pos="3654425" algn="l"/>
                <a:tab pos="4568825" algn="l"/>
                <a:tab pos="5483225" algn="l"/>
                <a:tab pos="6397625" algn="l"/>
                <a:tab pos="7312025" algn="l"/>
                <a:tab pos="8226425" algn="l"/>
                <a:tab pos="9140825" algn="l"/>
                <a:tab pos="10055225" algn="l"/>
              </a:tabLst>
            </a:pPr>
            <a:endParaRPr lang="en-US" sz="2000">
              <a:solidFill>
                <a:srgbClr val="404040"/>
              </a:solidFill>
              <a:latin typeface="Helvetica Neue"/>
              <a:ea typeface="ヒラギノ角ゴ ProN W3"/>
              <a:cs typeface="ヒラギノ角ゴ ProN W3"/>
            </a:endParaRPr>
          </a:p>
          <a:p>
            <a:pPr marL="315913" indent="-315913">
              <a:spcBef>
                <a:spcPts val="1200"/>
              </a:spcBef>
              <a:buClr>
                <a:srgbClr val="AF1C1C"/>
              </a:buClr>
              <a:buSzPct val="60000"/>
              <a:buFont typeface="Lucida Grande"/>
              <a:buChar char="‣"/>
              <a:tabLst>
                <a:tab pos="911225" algn="l"/>
                <a:tab pos="1825625" algn="l"/>
                <a:tab pos="2740025" algn="l"/>
                <a:tab pos="3654425" algn="l"/>
                <a:tab pos="4568825" algn="l"/>
                <a:tab pos="5483225" algn="l"/>
                <a:tab pos="6397625" algn="l"/>
                <a:tab pos="7312025" algn="l"/>
                <a:tab pos="8226425" algn="l"/>
                <a:tab pos="9140825" algn="l"/>
                <a:tab pos="10055225" algn="l"/>
              </a:tabLst>
            </a:pPr>
            <a:endParaRPr lang="en-US" sz="2000">
              <a:solidFill>
                <a:srgbClr val="404040"/>
              </a:solidFill>
              <a:latin typeface="Helvetica Neue"/>
              <a:ea typeface="ヒラギノ角ゴ ProN W3"/>
              <a:cs typeface="ヒラギノ角ゴ ProN W3"/>
            </a:endParaRPr>
          </a:p>
        </p:txBody>
      </p:sp>
      <p:sp>
        <p:nvSpPr>
          <p:cNvPr id="14342" name="Text Box 2"/>
          <p:cNvSpPr txBox="1">
            <a:spLocks noChangeArrowheads="1"/>
          </p:cNvSpPr>
          <p:nvPr/>
        </p:nvSpPr>
        <p:spPr bwMode="auto">
          <a:xfrm>
            <a:off x="1820863" y="8274050"/>
            <a:ext cx="3178175" cy="466725"/>
          </a:xfrm>
          <a:prstGeom prst="rect">
            <a:avLst/>
          </a:prstGeom>
          <a:noFill/>
          <a:ln w="9525">
            <a:noFill/>
            <a:miter lim="800000"/>
            <a:headEnd/>
            <a:tailEnd/>
          </a:ln>
        </p:spPr>
        <p:txBody>
          <a:bodyPr lIns="50760" tIns="50760" rIns="50760" bIns="50760"/>
          <a:lstStyle/>
          <a:p>
            <a:pPr>
              <a:spcBef>
                <a:spcPts val="1200"/>
              </a:spcBef>
              <a:buClr>
                <a:srgbClr val="AF1C1C"/>
              </a:buClr>
              <a:buSzPct val="60000"/>
              <a:tabLst>
                <a:tab pos="911225" algn="l"/>
                <a:tab pos="1825625" algn="l"/>
                <a:tab pos="2740025" algn="l"/>
                <a:tab pos="3654425" algn="l"/>
                <a:tab pos="4568825" algn="l"/>
                <a:tab pos="5483225" algn="l"/>
                <a:tab pos="6397625" algn="l"/>
                <a:tab pos="7312025" algn="l"/>
                <a:tab pos="8226425" algn="l"/>
                <a:tab pos="9140825" algn="l"/>
                <a:tab pos="10055225" algn="l"/>
              </a:tabLst>
            </a:pPr>
            <a:r>
              <a:rPr lang="en-US" sz="1600"/>
              <a:t>https://portal.telekomcloud.com/</a:t>
            </a:r>
          </a:p>
        </p:txBody>
      </p:sp>
      <p:sp>
        <p:nvSpPr>
          <p:cNvPr id="14343" name="Rectangle 10"/>
          <p:cNvSpPr>
            <a:spLocks noChangeArrowheads="1"/>
          </p:cNvSpPr>
          <p:nvPr/>
        </p:nvSpPr>
        <p:spPr bwMode="auto">
          <a:xfrm>
            <a:off x="654050" y="2030984"/>
            <a:ext cx="11687175" cy="1800225"/>
          </a:xfrm>
          <a:prstGeom prst="rect">
            <a:avLst/>
          </a:prstGeom>
          <a:noFill/>
          <a:ln w="9525">
            <a:noFill/>
            <a:miter lim="800000"/>
            <a:headEnd/>
            <a:tailEnd/>
          </a:ln>
        </p:spPr>
        <p:txBody>
          <a:bodyPr>
            <a:spAutoFit/>
          </a:bodyPr>
          <a:lstStyle/>
          <a:p>
            <a:r>
              <a:rPr lang="en-US" sz="2800" dirty="0" smtClean="0">
                <a:solidFill>
                  <a:schemeClr val="bg1"/>
                </a:solidFill>
                <a:latin typeface="Helvetica Neue"/>
              </a:rPr>
              <a:t>“</a:t>
            </a:r>
            <a:r>
              <a:rPr lang="en-US" sz="2800" dirty="0" err="1" smtClean="0">
                <a:solidFill>
                  <a:schemeClr val="bg1"/>
                </a:solidFill>
                <a:latin typeface="Helvetica Neue"/>
              </a:rPr>
              <a:t>TelekomCloud</a:t>
            </a:r>
            <a:r>
              <a:rPr lang="en-US" sz="2800" dirty="0" smtClean="0">
                <a:solidFill>
                  <a:schemeClr val="bg1"/>
                </a:solidFill>
                <a:latin typeface="Helvetica Neue"/>
              </a:rPr>
              <a:t> </a:t>
            </a:r>
            <a:r>
              <a:rPr lang="en-US" sz="2800" dirty="0">
                <a:solidFill>
                  <a:schemeClr val="bg1"/>
                </a:solidFill>
                <a:latin typeface="Helvetica Neue"/>
              </a:rPr>
              <a:t>Business Marketplace makes finding, buying, managing and using cloud-based business applications easy and secure for small and medium-sized businesses. We’ve built the hosting platform on top of OpenStack.”</a:t>
            </a:r>
            <a:endParaRPr lang="en-US" sz="2800" dirty="0">
              <a:latin typeface="Calibri" pitchFamily="34" charset="0"/>
            </a:endParaRPr>
          </a:p>
        </p:txBody>
      </p:sp>
      <p:sp>
        <p:nvSpPr>
          <p:cNvPr id="14344" name="Rectangle 13"/>
          <p:cNvSpPr>
            <a:spLocks noChangeArrowheads="1"/>
          </p:cNvSpPr>
          <p:nvPr/>
        </p:nvSpPr>
        <p:spPr bwMode="auto">
          <a:xfrm>
            <a:off x="7277100" y="3521075"/>
            <a:ext cx="5054600" cy="695325"/>
          </a:xfrm>
          <a:prstGeom prst="rect">
            <a:avLst/>
          </a:prstGeom>
          <a:noFill/>
          <a:ln w="9525">
            <a:noFill/>
            <a:miter lim="800000"/>
            <a:headEnd/>
            <a:tailEnd/>
          </a:ln>
        </p:spPr>
        <p:txBody>
          <a:bodyPr>
            <a:spAutoFit/>
          </a:bodyPr>
          <a:lstStyle/>
          <a:p>
            <a:pPr algn="r">
              <a:lnSpc>
                <a:spcPct val="80000"/>
              </a:lnSpc>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US" sz="2400">
                <a:latin typeface="Helvetica Neue"/>
              </a:rPr>
              <a:t>Kurt Garloff</a:t>
            </a:r>
          </a:p>
          <a:p>
            <a:pPr algn="r">
              <a:lnSpc>
                <a:spcPct val="80000"/>
              </a:lnSpc>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US" sz="2400">
                <a:latin typeface="Helvetica Neue"/>
              </a:rPr>
              <a:t>VP of Engineering, Cloud Services </a:t>
            </a:r>
          </a:p>
        </p:txBody>
      </p:sp>
      <p:pic>
        <p:nvPicPr>
          <p:cNvPr id="14345" name="Picture 12"/>
          <p:cNvPicPr>
            <a:picLocks noChangeAspect="1"/>
          </p:cNvPicPr>
          <p:nvPr/>
        </p:nvPicPr>
        <p:blipFill>
          <a:blip r:embed="rId4" cstate="print"/>
          <a:srcRect/>
          <a:stretch>
            <a:fillRect/>
          </a:stretch>
        </p:blipFill>
        <p:spPr bwMode="auto">
          <a:xfrm>
            <a:off x="736600" y="8186738"/>
            <a:ext cx="911225" cy="650875"/>
          </a:xfrm>
          <a:prstGeom prst="rect">
            <a:avLst/>
          </a:prstGeom>
          <a:noFill/>
          <a:ln w="9525">
            <a:noFill/>
            <a:miter lim="800000"/>
            <a:headEnd/>
            <a:tailEnd/>
          </a:ln>
        </p:spPr>
      </p:pic>
      <p:pic>
        <p:nvPicPr>
          <p:cNvPr id="14346" name="imgMarke" descr="DE39722098"/>
          <p:cNvPicPr>
            <a:picLocks noChangeAspect="1" noChangeArrowheads="1"/>
          </p:cNvPicPr>
          <p:nvPr/>
        </p:nvPicPr>
        <p:blipFill>
          <a:blip r:embed="rId5" cstate="print"/>
          <a:srcRect/>
          <a:stretch>
            <a:fillRect/>
          </a:stretch>
        </p:blipFill>
        <p:spPr bwMode="auto">
          <a:xfrm>
            <a:off x="7277100" y="4900613"/>
            <a:ext cx="3684588" cy="903287"/>
          </a:xfrm>
          <a:prstGeom prst="rect">
            <a:avLst/>
          </a:prstGeom>
          <a:noFill/>
          <a:ln w="9525">
            <a:noFill/>
            <a:miter lim="800000"/>
            <a:headEnd/>
            <a:tailEnd/>
          </a:ln>
        </p:spPr>
      </p:pic>
      <p:pic>
        <p:nvPicPr>
          <p:cNvPr id="14347" name="Picture 15" descr="business-marketplace"/>
          <p:cNvPicPr>
            <a:picLocks noChangeAspect="1" noChangeArrowheads="1"/>
          </p:cNvPicPr>
          <p:nvPr/>
        </p:nvPicPr>
        <p:blipFill>
          <a:blip r:embed="rId6" cstate="print"/>
          <a:srcRect/>
          <a:stretch>
            <a:fillRect/>
          </a:stretch>
        </p:blipFill>
        <p:spPr bwMode="auto">
          <a:xfrm>
            <a:off x="669925" y="7240588"/>
            <a:ext cx="4689475" cy="704850"/>
          </a:xfrm>
          <a:prstGeom prst="rect">
            <a:avLst/>
          </a:prstGeom>
          <a:noFill/>
          <a:ln w="9525">
            <a:noFill/>
            <a:miter lim="800000"/>
            <a:headEnd/>
            <a:tailEnd/>
          </a:ln>
        </p:spPr>
      </p:pic>
      <p:sp>
        <p:nvSpPr>
          <p:cNvPr id="8" name="Freeform 25"/>
          <p:cNvSpPr>
            <a:spLocks noEditPoints="1"/>
          </p:cNvSpPr>
          <p:nvPr>
            <p:custDataLst>
              <p:tags r:id="rId1"/>
            </p:custDataLst>
          </p:nvPr>
        </p:nvSpPr>
        <p:spPr bwMode="gray">
          <a:xfrm>
            <a:off x="1331913" y="4900613"/>
            <a:ext cx="3238500" cy="2052637"/>
          </a:xfrm>
          <a:custGeom>
            <a:avLst/>
            <a:gdLst>
              <a:gd name="T0" fmla="*/ 2147483647 w 5759"/>
              <a:gd name="T1" fmla="*/ 2147483647 h 3874"/>
              <a:gd name="T2" fmla="*/ 2147483647 w 5759"/>
              <a:gd name="T3" fmla="*/ 2147483647 h 3874"/>
              <a:gd name="T4" fmla="*/ 2147483647 w 5759"/>
              <a:gd name="T5" fmla="*/ 2147483647 h 3874"/>
              <a:gd name="T6" fmla="*/ 2147483647 w 5759"/>
              <a:gd name="T7" fmla="*/ 0 h 3874"/>
              <a:gd name="T8" fmla="*/ 2147483647 w 5759"/>
              <a:gd name="T9" fmla="*/ 2147483647 h 3874"/>
              <a:gd name="T10" fmla="*/ 2147483647 w 5759"/>
              <a:gd name="T11" fmla="*/ 2147483647 h 3874"/>
              <a:gd name="T12" fmla="*/ 2147483647 w 5759"/>
              <a:gd name="T13" fmla="*/ 2147483647 h 3874"/>
              <a:gd name="T14" fmla="*/ 2147483647 w 5759"/>
              <a:gd name="T15" fmla="*/ 2147483647 h 3874"/>
              <a:gd name="T16" fmla="*/ 2147483647 w 5759"/>
              <a:gd name="T17" fmla="*/ 2147483647 h 3874"/>
              <a:gd name="T18" fmla="*/ 2147483647 w 5759"/>
              <a:gd name="T19" fmla="*/ 2147483647 h 3874"/>
              <a:gd name="T20" fmla="*/ 2147483647 w 5759"/>
              <a:gd name="T21" fmla="*/ 2147483647 h 3874"/>
              <a:gd name="T22" fmla="*/ 2147483647 w 5759"/>
              <a:gd name="T23" fmla="*/ 2147483647 h 3874"/>
              <a:gd name="T24" fmla="*/ 2147483647 w 5759"/>
              <a:gd name="T25" fmla="*/ 2147483647 h 3874"/>
              <a:gd name="T26" fmla="*/ 2147483647 w 5759"/>
              <a:gd name="T27" fmla="*/ 2147483647 h 3874"/>
              <a:gd name="T28" fmla="*/ 2147483647 w 5759"/>
              <a:gd name="T29" fmla="*/ 2147483647 h 3874"/>
              <a:gd name="T30" fmla="*/ 2147483647 w 5759"/>
              <a:gd name="T31" fmla="*/ 2147483647 h 3874"/>
              <a:gd name="T32" fmla="*/ 2147483647 w 5759"/>
              <a:gd name="T33" fmla="*/ 2147483647 h 3874"/>
              <a:gd name="T34" fmla="*/ 2147483647 w 5759"/>
              <a:gd name="T35" fmla="*/ 2147483647 h 3874"/>
              <a:gd name="T36" fmla="*/ 2147483647 w 5759"/>
              <a:gd name="T37" fmla="*/ 2147483647 h 3874"/>
              <a:gd name="T38" fmla="*/ 2147483647 w 5759"/>
              <a:gd name="T39" fmla="*/ 2147483647 h 3874"/>
              <a:gd name="T40" fmla="*/ 2147483647 w 5759"/>
              <a:gd name="T41" fmla="*/ 2147483647 h 3874"/>
              <a:gd name="T42" fmla="*/ 2147483647 w 5759"/>
              <a:gd name="T43" fmla="*/ 2147483647 h 3874"/>
              <a:gd name="T44" fmla="*/ 2147483647 w 5759"/>
              <a:gd name="T45" fmla="*/ 2147483647 h 3874"/>
              <a:gd name="T46" fmla="*/ 2147483647 w 5759"/>
              <a:gd name="T47" fmla="*/ 2147483647 h 3874"/>
              <a:gd name="T48" fmla="*/ 2147483647 w 5759"/>
              <a:gd name="T49" fmla="*/ 2147483647 h 3874"/>
              <a:gd name="T50" fmla="*/ 2147483647 w 5759"/>
              <a:gd name="T51" fmla="*/ 2147483647 h 3874"/>
              <a:gd name="T52" fmla="*/ 2147483647 w 5759"/>
              <a:gd name="T53" fmla="*/ 2147483647 h 3874"/>
              <a:gd name="T54" fmla="*/ 2147483647 w 5759"/>
              <a:gd name="T55" fmla="*/ 2147483647 h 3874"/>
              <a:gd name="T56" fmla="*/ 2147483647 w 5759"/>
              <a:gd name="T57" fmla="*/ 2147483647 h 3874"/>
              <a:gd name="T58" fmla="*/ 2147483647 w 5759"/>
              <a:gd name="T59" fmla="*/ 2147483647 h 3874"/>
              <a:gd name="T60" fmla="*/ 2147483647 w 5759"/>
              <a:gd name="T61" fmla="*/ 2147483647 h 3874"/>
              <a:gd name="T62" fmla="*/ 2147483647 w 5759"/>
              <a:gd name="T63" fmla="*/ 2147483647 h 3874"/>
              <a:gd name="T64" fmla="*/ 2147483647 w 5759"/>
              <a:gd name="T65" fmla="*/ 2147483647 h 3874"/>
              <a:gd name="T66" fmla="*/ 2147483647 w 5759"/>
              <a:gd name="T67" fmla="*/ 2147483647 h 3874"/>
              <a:gd name="T68" fmla="*/ 2147483647 w 5759"/>
              <a:gd name="T69" fmla="*/ 2147483647 h 3874"/>
              <a:gd name="T70" fmla="*/ 2147483647 w 5759"/>
              <a:gd name="T71" fmla="*/ 2147483647 h 3874"/>
              <a:gd name="T72" fmla="*/ 2147483647 w 5759"/>
              <a:gd name="T73" fmla="*/ 2147483647 h 3874"/>
              <a:gd name="T74" fmla="*/ 2147483647 w 5759"/>
              <a:gd name="T75" fmla="*/ 2147483647 h 3874"/>
              <a:gd name="T76" fmla="*/ 2147483647 w 5759"/>
              <a:gd name="T77" fmla="*/ 2147483647 h 3874"/>
              <a:gd name="T78" fmla="*/ 2147483647 w 5759"/>
              <a:gd name="T79" fmla="*/ 2147483647 h 3874"/>
              <a:gd name="T80" fmla="*/ 2147483647 w 5759"/>
              <a:gd name="T81" fmla="*/ 2147483647 h 3874"/>
              <a:gd name="T82" fmla="*/ 2147483647 w 5759"/>
              <a:gd name="T83" fmla="*/ 2147483647 h 3874"/>
              <a:gd name="T84" fmla="*/ 2147483647 w 5759"/>
              <a:gd name="T85" fmla="*/ 2147483647 h 3874"/>
              <a:gd name="T86" fmla="*/ 2147483647 w 5759"/>
              <a:gd name="T87" fmla="*/ 2147483647 h 3874"/>
              <a:gd name="T88" fmla="*/ 2147483647 w 5759"/>
              <a:gd name="T89" fmla="*/ 2147483647 h 3874"/>
              <a:gd name="T90" fmla="*/ 2147483647 w 5759"/>
              <a:gd name="T91" fmla="*/ 2147483647 h 3874"/>
              <a:gd name="T92" fmla="*/ 2147483647 w 5759"/>
              <a:gd name="T93" fmla="*/ 2147483647 h 3874"/>
              <a:gd name="T94" fmla="*/ 2147483647 w 5759"/>
              <a:gd name="T95" fmla="*/ 2147483647 h 3874"/>
              <a:gd name="T96" fmla="*/ 2147483647 w 5759"/>
              <a:gd name="T97" fmla="*/ 2147483647 h 3874"/>
              <a:gd name="T98" fmla="*/ 2147483647 w 5759"/>
              <a:gd name="T99" fmla="*/ 2147483647 h 3874"/>
              <a:gd name="T100" fmla="*/ 2147483647 w 5759"/>
              <a:gd name="T101" fmla="*/ 2147483647 h 3874"/>
              <a:gd name="T102" fmla="*/ 2147483647 w 5759"/>
              <a:gd name="T103" fmla="*/ 2147483647 h 3874"/>
              <a:gd name="T104" fmla="*/ 2147483647 w 5759"/>
              <a:gd name="T105" fmla="*/ 2147483647 h 3874"/>
              <a:gd name="T106" fmla="*/ 2147483647 w 5759"/>
              <a:gd name="T107" fmla="*/ 2147483647 h 3874"/>
              <a:gd name="T108" fmla="*/ 2147483647 w 5759"/>
              <a:gd name="T109" fmla="*/ 2147483647 h 3874"/>
              <a:gd name="T110" fmla="*/ 2147483647 w 5759"/>
              <a:gd name="T111" fmla="*/ 2147483647 h 3874"/>
              <a:gd name="T112" fmla="*/ 2147483647 w 5759"/>
              <a:gd name="T113" fmla="*/ 2147483647 h 3874"/>
              <a:gd name="T114" fmla="*/ 2147483647 w 5759"/>
              <a:gd name="T115" fmla="*/ 2147483647 h 3874"/>
              <a:gd name="T116" fmla="*/ 2147483647 w 5759"/>
              <a:gd name="T117" fmla="*/ 2147483647 h 3874"/>
              <a:gd name="T118" fmla="*/ 2147483647 w 5759"/>
              <a:gd name="T119" fmla="*/ 2147483647 h 3874"/>
              <a:gd name="T120" fmla="*/ 2147483647 w 5759"/>
              <a:gd name="T121" fmla="*/ 2147483647 h 3874"/>
              <a:gd name="T122" fmla="*/ 2147483647 w 5759"/>
              <a:gd name="T123" fmla="*/ 2147483647 h 3874"/>
              <a:gd name="T124" fmla="*/ 2147483647 w 5759"/>
              <a:gd name="T125" fmla="*/ 2147483647 h 387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759"/>
              <a:gd name="T190" fmla="*/ 0 h 3874"/>
              <a:gd name="T191" fmla="*/ 5759 w 5759"/>
              <a:gd name="T192" fmla="*/ 3874 h 387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759" h="3874">
                <a:moveTo>
                  <a:pt x="4961" y="1322"/>
                </a:moveTo>
                <a:lnTo>
                  <a:pt x="4961" y="1322"/>
                </a:lnTo>
                <a:lnTo>
                  <a:pt x="4950" y="1272"/>
                </a:lnTo>
                <a:lnTo>
                  <a:pt x="4937" y="1220"/>
                </a:lnTo>
                <a:lnTo>
                  <a:pt x="4922" y="1166"/>
                </a:lnTo>
                <a:lnTo>
                  <a:pt x="4905" y="1113"/>
                </a:lnTo>
                <a:lnTo>
                  <a:pt x="4886" y="1059"/>
                </a:lnTo>
                <a:lnTo>
                  <a:pt x="4863" y="1003"/>
                </a:lnTo>
                <a:lnTo>
                  <a:pt x="4839" y="949"/>
                </a:lnTo>
                <a:lnTo>
                  <a:pt x="4812" y="893"/>
                </a:lnTo>
                <a:lnTo>
                  <a:pt x="4783" y="839"/>
                </a:lnTo>
                <a:lnTo>
                  <a:pt x="4752" y="785"/>
                </a:lnTo>
                <a:lnTo>
                  <a:pt x="4718" y="730"/>
                </a:lnTo>
                <a:lnTo>
                  <a:pt x="4682" y="677"/>
                </a:lnTo>
                <a:lnTo>
                  <a:pt x="4664" y="650"/>
                </a:lnTo>
                <a:lnTo>
                  <a:pt x="4644" y="624"/>
                </a:lnTo>
                <a:lnTo>
                  <a:pt x="4623" y="598"/>
                </a:lnTo>
                <a:lnTo>
                  <a:pt x="4602" y="572"/>
                </a:lnTo>
                <a:lnTo>
                  <a:pt x="4581" y="547"/>
                </a:lnTo>
                <a:lnTo>
                  <a:pt x="4558" y="521"/>
                </a:lnTo>
                <a:lnTo>
                  <a:pt x="4536" y="497"/>
                </a:lnTo>
                <a:lnTo>
                  <a:pt x="4513" y="472"/>
                </a:lnTo>
                <a:lnTo>
                  <a:pt x="4488" y="448"/>
                </a:lnTo>
                <a:lnTo>
                  <a:pt x="4463" y="424"/>
                </a:lnTo>
                <a:lnTo>
                  <a:pt x="4438" y="401"/>
                </a:lnTo>
                <a:lnTo>
                  <a:pt x="4412" y="378"/>
                </a:lnTo>
                <a:lnTo>
                  <a:pt x="4386" y="356"/>
                </a:lnTo>
                <a:lnTo>
                  <a:pt x="4358" y="334"/>
                </a:lnTo>
                <a:lnTo>
                  <a:pt x="4329" y="312"/>
                </a:lnTo>
                <a:lnTo>
                  <a:pt x="4300" y="291"/>
                </a:lnTo>
                <a:lnTo>
                  <a:pt x="4272" y="271"/>
                </a:lnTo>
                <a:lnTo>
                  <a:pt x="4241" y="252"/>
                </a:lnTo>
                <a:lnTo>
                  <a:pt x="4210" y="232"/>
                </a:lnTo>
                <a:lnTo>
                  <a:pt x="4179" y="213"/>
                </a:lnTo>
                <a:lnTo>
                  <a:pt x="4147" y="195"/>
                </a:lnTo>
                <a:lnTo>
                  <a:pt x="4114" y="178"/>
                </a:lnTo>
                <a:lnTo>
                  <a:pt x="4080" y="161"/>
                </a:lnTo>
                <a:lnTo>
                  <a:pt x="4046" y="145"/>
                </a:lnTo>
                <a:lnTo>
                  <a:pt x="4010" y="130"/>
                </a:lnTo>
                <a:lnTo>
                  <a:pt x="3974" y="115"/>
                </a:lnTo>
                <a:lnTo>
                  <a:pt x="3938" y="101"/>
                </a:lnTo>
                <a:lnTo>
                  <a:pt x="3900" y="88"/>
                </a:lnTo>
                <a:lnTo>
                  <a:pt x="3862" y="77"/>
                </a:lnTo>
                <a:lnTo>
                  <a:pt x="3824" y="65"/>
                </a:lnTo>
                <a:lnTo>
                  <a:pt x="3784" y="54"/>
                </a:lnTo>
                <a:lnTo>
                  <a:pt x="3744" y="45"/>
                </a:lnTo>
                <a:lnTo>
                  <a:pt x="3703" y="36"/>
                </a:lnTo>
                <a:lnTo>
                  <a:pt x="3662" y="28"/>
                </a:lnTo>
                <a:lnTo>
                  <a:pt x="3619" y="21"/>
                </a:lnTo>
                <a:lnTo>
                  <a:pt x="3576" y="15"/>
                </a:lnTo>
                <a:lnTo>
                  <a:pt x="3532" y="10"/>
                </a:lnTo>
                <a:lnTo>
                  <a:pt x="3487" y="6"/>
                </a:lnTo>
                <a:lnTo>
                  <a:pt x="3442" y="3"/>
                </a:lnTo>
                <a:lnTo>
                  <a:pt x="3395" y="1"/>
                </a:lnTo>
                <a:lnTo>
                  <a:pt x="3352" y="0"/>
                </a:lnTo>
                <a:lnTo>
                  <a:pt x="3310" y="0"/>
                </a:lnTo>
                <a:lnTo>
                  <a:pt x="3268" y="1"/>
                </a:lnTo>
                <a:lnTo>
                  <a:pt x="3228" y="4"/>
                </a:lnTo>
                <a:lnTo>
                  <a:pt x="3187" y="7"/>
                </a:lnTo>
                <a:lnTo>
                  <a:pt x="3148" y="12"/>
                </a:lnTo>
                <a:lnTo>
                  <a:pt x="3109" y="17"/>
                </a:lnTo>
                <a:lnTo>
                  <a:pt x="3071" y="22"/>
                </a:lnTo>
                <a:lnTo>
                  <a:pt x="3034" y="30"/>
                </a:lnTo>
                <a:lnTo>
                  <a:pt x="2996" y="37"/>
                </a:lnTo>
                <a:lnTo>
                  <a:pt x="2960" y="46"/>
                </a:lnTo>
                <a:lnTo>
                  <a:pt x="2925" y="55"/>
                </a:lnTo>
                <a:lnTo>
                  <a:pt x="2890" y="65"/>
                </a:lnTo>
                <a:lnTo>
                  <a:pt x="2857" y="76"/>
                </a:lnTo>
                <a:lnTo>
                  <a:pt x="2822" y="87"/>
                </a:lnTo>
                <a:lnTo>
                  <a:pt x="2790" y="99"/>
                </a:lnTo>
                <a:lnTo>
                  <a:pt x="2759" y="111"/>
                </a:lnTo>
                <a:lnTo>
                  <a:pt x="2727" y="125"/>
                </a:lnTo>
                <a:lnTo>
                  <a:pt x="2696" y="138"/>
                </a:lnTo>
                <a:lnTo>
                  <a:pt x="2666" y="151"/>
                </a:lnTo>
                <a:lnTo>
                  <a:pt x="2637" y="166"/>
                </a:lnTo>
                <a:lnTo>
                  <a:pt x="2608" y="181"/>
                </a:lnTo>
                <a:lnTo>
                  <a:pt x="2553" y="212"/>
                </a:lnTo>
                <a:lnTo>
                  <a:pt x="2500" y="244"/>
                </a:lnTo>
                <a:lnTo>
                  <a:pt x="2450" y="276"/>
                </a:lnTo>
                <a:lnTo>
                  <a:pt x="2403" y="310"/>
                </a:lnTo>
                <a:lnTo>
                  <a:pt x="2360" y="344"/>
                </a:lnTo>
                <a:lnTo>
                  <a:pt x="2318" y="377"/>
                </a:lnTo>
                <a:lnTo>
                  <a:pt x="2279" y="411"/>
                </a:lnTo>
                <a:lnTo>
                  <a:pt x="2242" y="445"/>
                </a:lnTo>
                <a:lnTo>
                  <a:pt x="2209" y="478"/>
                </a:lnTo>
                <a:lnTo>
                  <a:pt x="2178" y="509"/>
                </a:lnTo>
                <a:lnTo>
                  <a:pt x="2151" y="539"/>
                </a:lnTo>
                <a:lnTo>
                  <a:pt x="2125" y="568"/>
                </a:lnTo>
                <a:lnTo>
                  <a:pt x="2102" y="595"/>
                </a:lnTo>
                <a:lnTo>
                  <a:pt x="2082" y="619"/>
                </a:lnTo>
                <a:lnTo>
                  <a:pt x="2064" y="642"/>
                </a:lnTo>
                <a:lnTo>
                  <a:pt x="2038" y="678"/>
                </a:lnTo>
                <a:lnTo>
                  <a:pt x="2022" y="701"/>
                </a:lnTo>
                <a:lnTo>
                  <a:pt x="2016" y="709"/>
                </a:lnTo>
                <a:lnTo>
                  <a:pt x="1983" y="700"/>
                </a:lnTo>
                <a:lnTo>
                  <a:pt x="1950" y="692"/>
                </a:lnTo>
                <a:lnTo>
                  <a:pt x="1917" y="684"/>
                </a:lnTo>
                <a:lnTo>
                  <a:pt x="1885" y="678"/>
                </a:lnTo>
                <a:lnTo>
                  <a:pt x="1852" y="673"/>
                </a:lnTo>
                <a:lnTo>
                  <a:pt x="1820" y="667"/>
                </a:lnTo>
                <a:lnTo>
                  <a:pt x="1788" y="664"/>
                </a:lnTo>
                <a:lnTo>
                  <a:pt x="1756" y="662"/>
                </a:lnTo>
                <a:lnTo>
                  <a:pt x="1724" y="660"/>
                </a:lnTo>
                <a:lnTo>
                  <a:pt x="1693" y="659"/>
                </a:lnTo>
                <a:lnTo>
                  <a:pt x="1662" y="660"/>
                </a:lnTo>
                <a:lnTo>
                  <a:pt x="1631" y="661"/>
                </a:lnTo>
                <a:lnTo>
                  <a:pt x="1601" y="663"/>
                </a:lnTo>
                <a:lnTo>
                  <a:pt x="1570" y="667"/>
                </a:lnTo>
                <a:lnTo>
                  <a:pt x="1539" y="672"/>
                </a:lnTo>
                <a:lnTo>
                  <a:pt x="1509" y="677"/>
                </a:lnTo>
                <a:lnTo>
                  <a:pt x="1479" y="684"/>
                </a:lnTo>
                <a:lnTo>
                  <a:pt x="1449" y="692"/>
                </a:lnTo>
                <a:lnTo>
                  <a:pt x="1420" y="700"/>
                </a:lnTo>
                <a:lnTo>
                  <a:pt x="1390" y="711"/>
                </a:lnTo>
                <a:lnTo>
                  <a:pt x="1362" y="722"/>
                </a:lnTo>
                <a:lnTo>
                  <a:pt x="1333" y="735"/>
                </a:lnTo>
                <a:lnTo>
                  <a:pt x="1304" y="747"/>
                </a:lnTo>
                <a:lnTo>
                  <a:pt x="1275" y="762"/>
                </a:lnTo>
                <a:lnTo>
                  <a:pt x="1248" y="778"/>
                </a:lnTo>
                <a:lnTo>
                  <a:pt x="1220" y="794"/>
                </a:lnTo>
                <a:lnTo>
                  <a:pt x="1192" y="812"/>
                </a:lnTo>
                <a:lnTo>
                  <a:pt x="1164" y="833"/>
                </a:lnTo>
                <a:lnTo>
                  <a:pt x="1137" y="853"/>
                </a:lnTo>
                <a:lnTo>
                  <a:pt x="1110" y="874"/>
                </a:lnTo>
                <a:lnTo>
                  <a:pt x="1083" y="898"/>
                </a:lnTo>
                <a:lnTo>
                  <a:pt x="1057" y="922"/>
                </a:lnTo>
                <a:lnTo>
                  <a:pt x="1033" y="945"/>
                </a:lnTo>
                <a:lnTo>
                  <a:pt x="1011" y="968"/>
                </a:lnTo>
                <a:lnTo>
                  <a:pt x="991" y="991"/>
                </a:lnTo>
                <a:lnTo>
                  <a:pt x="971" y="1015"/>
                </a:lnTo>
                <a:lnTo>
                  <a:pt x="953" y="1038"/>
                </a:lnTo>
                <a:lnTo>
                  <a:pt x="937" y="1062"/>
                </a:lnTo>
                <a:lnTo>
                  <a:pt x="921" y="1085"/>
                </a:lnTo>
                <a:lnTo>
                  <a:pt x="907" y="1109"/>
                </a:lnTo>
                <a:lnTo>
                  <a:pt x="894" y="1131"/>
                </a:lnTo>
                <a:lnTo>
                  <a:pt x="882" y="1155"/>
                </a:lnTo>
                <a:lnTo>
                  <a:pt x="870" y="1177"/>
                </a:lnTo>
                <a:lnTo>
                  <a:pt x="861" y="1199"/>
                </a:lnTo>
                <a:lnTo>
                  <a:pt x="851" y="1221"/>
                </a:lnTo>
                <a:lnTo>
                  <a:pt x="843" y="1242"/>
                </a:lnTo>
                <a:lnTo>
                  <a:pt x="829" y="1282"/>
                </a:lnTo>
                <a:lnTo>
                  <a:pt x="818" y="1320"/>
                </a:lnTo>
                <a:lnTo>
                  <a:pt x="809" y="1354"/>
                </a:lnTo>
                <a:lnTo>
                  <a:pt x="803" y="1384"/>
                </a:lnTo>
                <a:lnTo>
                  <a:pt x="800" y="1410"/>
                </a:lnTo>
                <a:lnTo>
                  <a:pt x="797" y="1431"/>
                </a:lnTo>
                <a:lnTo>
                  <a:pt x="796" y="1447"/>
                </a:lnTo>
                <a:lnTo>
                  <a:pt x="794" y="1459"/>
                </a:lnTo>
                <a:lnTo>
                  <a:pt x="761" y="1464"/>
                </a:lnTo>
                <a:lnTo>
                  <a:pt x="728" y="1469"/>
                </a:lnTo>
                <a:lnTo>
                  <a:pt x="694" y="1476"/>
                </a:lnTo>
                <a:lnTo>
                  <a:pt x="659" y="1486"/>
                </a:lnTo>
                <a:lnTo>
                  <a:pt x="625" y="1498"/>
                </a:lnTo>
                <a:lnTo>
                  <a:pt x="590" y="1512"/>
                </a:lnTo>
                <a:lnTo>
                  <a:pt x="555" y="1527"/>
                </a:lnTo>
                <a:lnTo>
                  <a:pt x="519" y="1544"/>
                </a:lnTo>
                <a:lnTo>
                  <a:pt x="484" y="1563"/>
                </a:lnTo>
                <a:lnTo>
                  <a:pt x="449" y="1584"/>
                </a:lnTo>
                <a:lnTo>
                  <a:pt x="415" y="1608"/>
                </a:lnTo>
                <a:lnTo>
                  <a:pt x="381" y="1633"/>
                </a:lnTo>
                <a:lnTo>
                  <a:pt x="348" y="1660"/>
                </a:lnTo>
                <a:lnTo>
                  <a:pt x="315" y="1689"/>
                </a:lnTo>
                <a:lnTo>
                  <a:pt x="284" y="1720"/>
                </a:lnTo>
                <a:lnTo>
                  <a:pt x="253" y="1753"/>
                </a:lnTo>
                <a:lnTo>
                  <a:pt x="223" y="1787"/>
                </a:lnTo>
                <a:lnTo>
                  <a:pt x="195" y="1823"/>
                </a:lnTo>
                <a:lnTo>
                  <a:pt x="169" y="1861"/>
                </a:lnTo>
                <a:lnTo>
                  <a:pt x="143" y="1902"/>
                </a:lnTo>
                <a:lnTo>
                  <a:pt x="119" y="1943"/>
                </a:lnTo>
                <a:lnTo>
                  <a:pt x="97" y="1988"/>
                </a:lnTo>
                <a:lnTo>
                  <a:pt x="78" y="2033"/>
                </a:lnTo>
                <a:lnTo>
                  <a:pt x="68" y="2056"/>
                </a:lnTo>
                <a:lnTo>
                  <a:pt x="60" y="2081"/>
                </a:lnTo>
                <a:lnTo>
                  <a:pt x="51" y="2105"/>
                </a:lnTo>
                <a:lnTo>
                  <a:pt x="44" y="2130"/>
                </a:lnTo>
                <a:lnTo>
                  <a:pt x="36" y="2156"/>
                </a:lnTo>
                <a:lnTo>
                  <a:pt x="30" y="2181"/>
                </a:lnTo>
                <a:lnTo>
                  <a:pt x="24" y="2208"/>
                </a:lnTo>
                <a:lnTo>
                  <a:pt x="18" y="2234"/>
                </a:lnTo>
                <a:lnTo>
                  <a:pt x="14" y="2261"/>
                </a:lnTo>
                <a:lnTo>
                  <a:pt x="10" y="2289"/>
                </a:lnTo>
                <a:lnTo>
                  <a:pt x="6" y="2317"/>
                </a:lnTo>
                <a:lnTo>
                  <a:pt x="3" y="2345"/>
                </a:lnTo>
                <a:lnTo>
                  <a:pt x="1" y="2374"/>
                </a:lnTo>
                <a:lnTo>
                  <a:pt x="0" y="2404"/>
                </a:lnTo>
                <a:lnTo>
                  <a:pt x="0" y="2434"/>
                </a:lnTo>
                <a:lnTo>
                  <a:pt x="0" y="2464"/>
                </a:lnTo>
                <a:lnTo>
                  <a:pt x="0" y="2495"/>
                </a:lnTo>
                <a:lnTo>
                  <a:pt x="2" y="2525"/>
                </a:lnTo>
                <a:lnTo>
                  <a:pt x="4" y="2549"/>
                </a:lnTo>
                <a:lnTo>
                  <a:pt x="6" y="2572"/>
                </a:lnTo>
                <a:lnTo>
                  <a:pt x="10" y="2596"/>
                </a:lnTo>
                <a:lnTo>
                  <a:pt x="13" y="2618"/>
                </a:lnTo>
                <a:lnTo>
                  <a:pt x="22" y="2662"/>
                </a:lnTo>
                <a:lnTo>
                  <a:pt x="33" y="2706"/>
                </a:lnTo>
                <a:lnTo>
                  <a:pt x="47" y="2747"/>
                </a:lnTo>
                <a:lnTo>
                  <a:pt x="63" y="2788"/>
                </a:lnTo>
                <a:lnTo>
                  <a:pt x="80" y="2826"/>
                </a:lnTo>
                <a:lnTo>
                  <a:pt x="98" y="2863"/>
                </a:lnTo>
                <a:lnTo>
                  <a:pt x="119" y="2900"/>
                </a:lnTo>
                <a:lnTo>
                  <a:pt x="141" y="2935"/>
                </a:lnTo>
                <a:lnTo>
                  <a:pt x="164" y="2969"/>
                </a:lnTo>
                <a:lnTo>
                  <a:pt x="189" y="3001"/>
                </a:lnTo>
                <a:lnTo>
                  <a:pt x="213" y="3032"/>
                </a:lnTo>
                <a:lnTo>
                  <a:pt x="240" y="3062"/>
                </a:lnTo>
                <a:lnTo>
                  <a:pt x="267" y="3089"/>
                </a:lnTo>
                <a:lnTo>
                  <a:pt x="294" y="3116"/>
                </a:lnTo>
                <a:lnTo>
                  <a:pt x="322" y="3142"/>
                </a:lnTo>
                <a:lnTo>
                  <a:pt x="350" y="3166"/>
                </a:lnTo>
                <a:lnTo>
                  <a:pt x="379" y="3189"/>
                </a:lnTo>
                <a:lnTo>
                  <a:pt x="407" y="3210"/>
                </a:lnTo>
                <a:lnTo>
                  <a:pt x="435" y="3230"/>
                </a:lnTo>
                <a:lnTo>
                  <a:pt x="463" y="3248"/>
                </a:lnTo>
                <a:lnTo>
                  <a:pt x="491" y="3265"/>
                </a:lnTo>
                <a:lnTo>
                  <a:pt x="518" y="3281"/>
                </a:lnTo>
                <a:lnTo>
                  <a:pt x="545" y="3295"/>
                </a:lnTo>
                <a:lnTo>
                  <a:pt x="571" y="3309"/>
                </a:lnTo>
                <a:lnTo>
                  <a:pt x="595" y="3321"/>
                </a:lnTo>
                <a:lnTo>
                  <a:pt x="620" y="3330"/>
                </a:lnTo>
                <a:lnTo>
                  <a:pt x="642" y="3340"/>
                </a:lnTo>
                <a:lnTo>
                  <a:pt x="663" y="3347"/>
                </a:lnTo>
                <a:lnTo>
                  <a:pt x="682" y="3353"/>
                </a:lnTo>
                <a:lnTo>
                  <a:pt x="702" y="3358"/>
                </a:lnTo>
                <a:lnTo>
                  <a:pt x="761" y="3371"/>
                </a:lnTo>
                <a:lnTo>
                  <a:pt x="817" y="3380"/>
                </a:lnTo>
                <a:lnTo>
                  <a:pt x="868" y="3387"/>
                </a:lnTo>
                <a:lnTo>
                  <a:pt x="916" y="3391"/>
                </a:lnTo>
                <a:lnTo>
                  <a:pt x="959" y="3393"/>
                </a:lnTo>
                <a:lnTo>
                  <a:pt x="998" y="3393"/>
                </a:lnTo>
                <a:lnTo>
                  <a:pt x="1033" y="3392"/>
                </a:lnTo>
                <a:lnTo>
                  <a:pt x="1064" y="3390"/>
                </a:lnTo>
                <a:lnTo>
                  <a:pt x="1091" y="3387"/>
                </a:lnTo>
                <a:lnTo>
                  <a:pt x="1114" y="3383"/>
                </a:lnTo>
                <a:lnTo>
                  <a:pt x="1135" y="3378"/>
                </a:lnTo>
                <a:lnTo>
                  <a:pt x="1151" y="3374"/>
                </a:lnTo>
                <a:lnTo>
                  <a:pt x="1171" y="3368"/>
                </a:lnTo>
                <a:lnTo>
                  <a:pt x="1178" y="3364"/>
                </a:lnTo>
                <a:lnTo>
                  <a:pt x="1196" y="3383"/>
                </a:lnTo>
                <a:lnTo>
                  <a:pt x="1217" y="3401"/>
                </a:lnTo>
                <a:lnTo>
                  <a:pt x="1238" y="3420"/>
                </a:lnTo>
                <a:lnTo>
                  <a:pt x="1261" y="3439"/>
                </a:lnTo>
                <a:lnTo>
                  <a:pt x="1286" y="3458"/>
                </a:lnTo>
                <a:lnTo>
                  <a:pt x="1313" y="3478"/>
                </a:lnTo>
                <a:lnTo>
                  <a:pt x="1340" y="3499"/>
                </a:lnTo>
                <a:lnTo>
                  <a:pt x="1370" y="3520"/>
                </a:lnTo>
                <a:lnTo>
                  <a:pt x="1400" y="3540"/>
                </a:lnTo>
                <a:lnTo>
                  <a:pt x="1432" y="3561"/>
                </a:lnTo>
                <a:lnTo>
                  <a:pt x="1465" y="3582"/>
                </a:lnTo>
                <a:lnTo>
                  <a:pt x="1499" y="3602"/>
                </a:lnTo>
                <a:lnTo>
                  <a:pt x="1535" y="3622"/>
                </a:lnTo>
                <a:lnTo>
                  <a:pt x="1572" y="3643"/>
                </a:lnTo>
                <a:lnTo>
                  <a:pt x="1609" y="3662"/>
                </a:lnTo>
                <a:lnTo>
                  <a:pt x="1649" y="3681"/>
                </a:lnTo>
                <a:lnTo>
                  <a:pt x="1688" y="3700"/>
                </a:lnTo>
                <a:lnTo>
                  <a:pt x="1728" y="3718"/>
                </a:lnTo>
                <a:lnTo>
                  <a:pt x="1770" y="3736"/>
                </a:lnTo>
                <a:lnTo>
                  <a:pt x="1813" y="3754"/>
                </a:lnTo>
                <a:lnTo>
                  <a:pt x="1856" y="3770"/>
                </a:lnTo>
                <a:lnTo>
                  <a:pt x="1901" y="3784"/>
                </a:lnTo>
                <a:lnTo>
                  <a:pt x="1946" y="3798"/>
                </a:lnTo>
                <a:lnTo>
                  <a:pt x="1992" y="3812"/>
                </a:lnTo>
                <a:lnTo>
                  <a:pt x="2038" y="3824"/>
                </a:lnTo>
                <a:lnTo>
                  <a:pt x="2085" y="3836"/>
                </a:lnTo>
                <a:lnTo>
                  <a:pt x="2133" y="3845"/>
                </a:lnTo>
                <a:lnTo>
                  <a:pt x="2181" y="3854"/>
                </a:lnTo>
                <a:lnTo>
                  <a:pt x="2229" y="3861"/>
                </a:lnTo>
                <a:lnTo>
                  <a:pt x="2278" y="3867"/>
                </a:lnTo>
                <a:lnTo>
                  <a:pt x="2328" y="3871"/>
                </a:lnTo>
                <a:lnTo>
                  <a:pt x="2377" y="3873"/>
                </a:lnTo>
                <a:lnTo>
                  <a:pt x="2436" y="3874"/>
                </a:lnTo>
                <a:lnTo>
                  <a:pt x="2494" y="3874"/>
                </a:lnTo>
                <a:lnTo>
                  <a:pt x="2550" y="3871"/>
                </a:lnTo>
                <a:lnTo>
                  <a:pt x="2605" y="3868"/>
                </a:lnTo>
                <a:lnTo>
                  <a:pt x="2657" y="3862"/>
                </a:lnTo>
                <a:lnTo>
                  <a:pt x="2709" y="3856"/>
                </a:lnTo>
                <a:lnTo>
                  <a:pt x="2760" y="3847"/>
                </a:lnTo>
                <a:lnTo>
                  <a:pt x="2808" y="3839"/>
                </a:lnTo>
                <a:lnTo>
                  <a:pt x="2854" y="3829"/>
                </a:lnTo>
                <a:lnTo>
                  <a:pt x="2899" y="3819"/>
                </a:lnTo>
                <a:lnTo>
                  <a:pt x="2943" y="3807"/>
                </a:lnTo>
                <a:lnTo>
                  <a:pt x="2985" y="3795"/>
                </a:lnTo>
                <a:lnTo>
                  <a:pt x="3025" y="3782"/>
                </a:lnTo>
                <a:lnTo>
                  <a:pt x="3063" y="3770"/>
                </a:lnTo>
                <a:lnTo>
                  <a:pt x="3100" y="3756"/>
                </a:lnTo>
                <a:lnTo>
                  <a:pt x="3134" y="3743"/>
                </a:lnTo>
                <a:lnTo>
                  <a:pt x="3167" y="3729"/>
                </a:lnTo>
                <a:lnTo>
                  <a:pt x="3198" y="3715"/>
                </a:lnTo>
                <a:lnTo>
                  <a:pt x="3254" y="3690"/>
                </a:lnTo>
                <a:lnTo>
                  <a:pt x="3301" y="3664"/>
                </a:lnTo>
                <a:lnTo>
                  <a:pt x="3342" y="3643"/>
                </a:lnTo>
                <a:lnTo>
                  <a:pt x="3373" y="3623"/>
                </a:lnTo>
                <a:lnTo>
                  <a:pt x="3396" y="3609"/>
                </a:lnTo>
                <a:lnTo>
                  <a:pt x="3414" y="3596"/>
                </a:lnTo>
                <a:lnTo>
                  <a:pt x="3436" y="3607"/>
                </a:lnTo>
                <a:lnTo>
                  <a:pt x="3460" y="3619"/>
                </a:lnTo>
                <a:lnTo>
                  <a:pt x="3486" y="3631"/>
                </a:lnTo>
                <a:lnTo>
                  <a:pt x="3514" y="3642"/>
                </a:lnTo>
                <a:lnTo>
                  <a:pt x="3545" y="3653"/>
                </a:lnTo>
                <a:lnTo>
                  <a:pt x="3578" y="3664"/>
                </a:lnTo>
                <a:lnTo>
                  <a:pt x="3614" y="3674"/>
                </a:lnTo>
                <a:lnTo>
                  <a:pt x="3652" y="3682"/>
                </a:lnTo>
                <a:lnTo>
                  <a:pt x="3693" y="3690"/>
                </a:lnTo>
                <a:lnTo>
                  <a:pt x="3736" y="3695"/>
                </a:lnTo>
                <a:lnTo>
                  <a:pt x="3783" y="3698"/>
                </a:lnTo>
                <a:lnTo>
                  <a:pt x="3833" y="3700"/>
                </a:lnTo>
                <a:lnTo>
                  <a:pt x="3887" y="3699"/>
                </a:lnTo>
                <a:lnTo>
                  <a:pt x="3942" y="3696"/>
                </a:lnTo>
                <a:lnTo>
                  <a:pt x="3972" y="3694"/>
                </a:lnTo>
                <a:lnTo>
                  <a:pt x="4002" y="3690"/>
                </a:lnTo>
                <a:lnTo>
                  <a:pt x="4034" y="3685"/>
                </a:lnTo>
                <a:lnTo>
                  <a:pt x="4066" y="3681"/>
                </a:lnTo>
                <a:lnTo>
                  <a:pt x="4096" y="3676"/>
                </a:lnTo>
                <a:lnTo>
                  <a:pt x="4125" y="3668"/>
                </a:lnTo>
                <a:lnTo>
                  <a:pt x="4155" y="3661"/>
                </a:lnTo>
                <a:lnTo>
                  <a:pt x="4183" y="3653"/>
                </a:lnTo>
                <a:lnTo>
                  <a:pt x="4211" y="3644"/>
                </a:lnTo>
                <a:lnTo>
                  <a:pt x="4237" y="3634"/>
                </a:lnTo>
                <a:lnTo>
                  <a:pt x="4263" y="3623"/>
                </a:lnTo>
                <a:lnTo>
                  <a:pt x="4288" y="3613"/>
                </a:lnTo>
                <a:lnTo>
                  <a:pt x="4311" y="3602"/>
                </a:lnTo>
                <a:lnTo>
                  <a:pt x="4333" y="3590"/>
                </a:lnTo>
                <a:lnTo>
                  <a:pt x="4356" y="3579"/>
                </a:lnTo>
                <a:lnTo>
                  <a:pt x="4377" y="3566"/>
                </a:lnTo>
                <a:lnTo>
                  <a:pt x="4417" y="3541"/>
                </a:lnTo>
                <a:lnTo>
                  <a:pt x="4452" y="3517"/>
                </a:lnTo>
                <a:lnTo>
                  <a:pt x="4484" y="3493"/>
                </a:lnTo>
                <a:lnTo>
                  <a:pt x="4511" y="3470"/>
                </a:lnTo>
                <a:lnTo>
                  <a:pt x="4535" y="3450"/>
                </a:lnTo>
                <a:lnTo>
                  <a:pt x="4554" y="3431"/>
                </a:lnTo>
                <a:lnTo>
                  <a:pt x="4569" y="3416"/>
                </a:lnTo>
                <a:lnTo>
                  <a:pt x="4581" y="3404"/>
                </a:lnTo>
                <a:lnTo>
                  <a:pt x="4589" y="3394"/>
                </a:lnTo>
                <a:lnTo>
                  <a:pt x="4635" y="3395"/>
                </a:lnTo>
                <a:lnTo>
                  <a:pt x="4680" y="3396"/>
                </a:lnTo>
                <a:lnTo>
                  <a:pt x="4724" y="3395"/>
                </a:lnTo>
                <a:lnTo>
                  <a:pt x="4765" y="3393"/>
                </a:lnTo>
                <a:lnTo>
                  <a:pt x="4805" y="3390"/>
                </a:lnTo>
                <a:lnTo>
                  <a:pt x="4844" y="3386"/>
                </a:lnTo>
                <a:lnTo>
                  <a:pt x="4881" y="3380"/>
                </a:lnTo>
                <a:lnTo>
                  <a:pt x="4917" y="3375"/>
                </a:lnTo>
                <a:lnTo>
                  <a:pt x="4952" y="3368"/>
                </a:lnTo>
                <a:lnTo>
                  <a:pt x="4985" y="3360"/>
                </a:lnTo>
                <a:lnTo>
                  <a:pt x="5017" y="3351"/>
                </a:lnTo>
                <a:lnTo>
                  <a:pt x="5048" y="3341"/>
                </a:lnTo>
                <a:lnTo>
                  <a:pt x="5078" y="3331"/>
                </a:lnTo>
                <a:lnTo>
                  <a:pt x="5106" y="3321"/>
                </a:lnTo>
                <a:lnTo>
                  <a:pt x="5134" y="3309"/>
                </a:lnTo>
                <a:lnTo>
                  <a:pt x="5160" y="3297"/>
                </a:lnTo>
                <a:lnTo>
                  <a:pt x="5185" y="3286"/>
                </a:lnTo>
                <a:lnTo>
                  <a:pt x="5210" y="3273"/>
                </a:lnTo>
                <a:lnTo>
                  <a:pt x="5233" y="3260"/>
                </a:lnTo>
                <a:lnTo>
                  <a:pt x="5255" y="3246"/>
                </a:lnTo>
                <a:lnTo>
                  <a:pt x="5276" y="3233"/>
                </a:lnTo>
                <a:lnTo>
                  <a:pt x="5296" y="3219"/>
                </a:lnTo>
                <a:lnTo>
                  <a:pt x="5335" y="3192"/>
                </a:lnTo>
                <a:lnTo>
                  <a:pt x="5370" y="3165"/>
                </a:lnTo>
                <a:lnTo>
                  <a:pt x="5402" y="3138"/>
                </a:lnTo>
                <a:lnTo>
                  <a:pt x="5431" y="3112"/>
                </a:lnTo>
                <a:lnTo>
                  <a:pt x="5457" y="3088"/>
                </a:lnTo>
                <a:lnTo>
                  <a:pt x="5476" y="3069"/>
                </a:lnTo>
                <a:lnTo>
                  <a:pt x="5496" y="3050"/>
                </a:lnTo>
                <a:lnTo>
                  <a:pt x="5514" y="3030"/>
                </a:lnTo>
                <a:lnTo>
                  <a:pt x="5531" y="3008"/>
                </a:lnTo>
                <a:lnTo>
                  <a:pt x="5547" y="2987"/>
                </a:lnTo>
                <a:lnTo>
                  <a:pt x="5563" y="2965"/>
                </a:lnTo>
                <a:lnTo>
                  <a:pt x="5579" y="2941"/>
                </a:lnTo>
                <a:lnTo>
                  <a:pt x="5593" y="2918"/>
                </a:lnTo>
                <a:lnTo>
                  <a:pt x="5607" y="2894"/>
                </a:lnTo>
                <a:lnTo>
                  <a:pt x="5620" y="2871"/>
                </a:lnTo>
                <a:lnTo>
                  <a:pt x="5633" y="2846"/>
                </a:lnTo>
                <a:lnTo>
                  <a:pt x="5645" y="2822"/>
                </a:lnTo>
                <a:lnTo>
                  <a:pt x="5667" y="2772"/>
                </a:lnTo>
                <a:lnTo>
                  <a:pt x="5686" y="2723"/>
                </a:lnTo>
                <a:lnTo>
                  <a:pt x="5705" y="2675"/>
                </a:lnTo>
                <a:lnTo>
                  <a:pt x="5720" y="2628"/>
                </a:lnTo>
                <a:lnTo>
                  <a:pt x="5731" y="2583"/>
                </a:lnTo>
                <a:lnTo>
                  <a:pt x="5742" y="2540"/>
                </a:lnTo>
                <a:lnTo>
                  <a:pt x="5749" y="2501"/>
                </a:lnTo>
                <a:lnTo>
                  <a:pt x="5755" y="2466"/>
                </a:lnTo>
                <a:lnTo>
                  <a:pt x="5758" y="2435"/>
                </a:lnTo>
                <a:lnTo>
                  <a:pt x="5759" y="2408"/>
                </a:lnTo>
                <a:lnTo>
                  <a:pt x="5758" y="2364"/>
                </a:lnTo>
                <a:lnTo>
                  <a:pt x="5756" y="2322"/>
                </a:lnTo>
                <a:lnTo>
                  <a:pt x="5753" y="2279"/>
                </a:lnTo>
                <a:lnTo>
                  <a:pt x="5748" y="2239"/>
                </a:lnTo>
                <a:lnTo>
                  <a:pt x="5743" y="2199"/>
                </a:lnTo>
                <a:lnTo>
                  <a:pt x="5737" y="2162"/>
                </a:lnTo>
                <a:lnTo>
                  <a:pt x="5730" y="2125"/>
                </a:lnTo>
                <a:lnTo>
                  <a:pt x="5722" y="2088"/>
                </a:lnTo>
                <a:lnTo>
                  <a:pt x="5713" y="2053"/>
                </a:lnTo>
                <a:lnTo>
                  <a:pt x="5704" y="2019"/>
                </a:lnTo>
                <a:lnTo>
                  <a:pt x="5693" y="1986"/>
                </a:lnTo>
                <a:lnTo>
                  <a:pt x="5682" y="1954"/>
                </a:lnTo>
                <a:lnTo>
                  <a:pt x="5669" y="1923"/>
                </a:lnTo>
                <a:lnTo>
                  <a:pt x="5658" y="1893"/>
                </a:lnTo>
                <a:lnTo>
                  <a:pt x="5644" y="1865"/>
                </a:lnTo>
                <a:lnTo>
                  <a:pt x="5630" y="1837"/>
                </a:lnTo>
                <a:lnTo>
                  <a:pt x="5616" y="1810"/>
                </a:lnTo>
                <a:lnTo>
                  <a:pt x="5601" y="1783"/>
                </a:lnTo>
                <a:lnTo>
                  <a:pt x="5585" y="1759"/>
                </a:lnTo>
                <a:lnTo>
                  <a:pt x="5570" y="1734"/>
                </a:lnTo>
                <a:lnTo>
                  <a:pt x="5553" y="1711"/>
                </a:lnTo>
                <a:lnTo>
                  <a:pt x="5537" y="1689"/>
                </a:lnTo>
                <a:lnTo>
                  <a:pt x="5520" y="1667"/>
                </a:lnTo>
                <a:lnTo>
                  <a:pt x="5502" y="1646"/>
                </a:lnTo>
                <a:lnTo>
                  <a:pt x="5485" y="1626"/>
                </a:lnTo>
                <a:lnTo>
                  <a:pt x="5467" y="1607"/>
                </a:lnTo>
                <a:lnTo>
                  <a:pt x="5449" y="1588"/>
                </a:lnTo>
                <a:lnTo>
                  <a:pt x="5431" y="1571"/>
                </a:lnTo>
                <a:lnTo>
                  <a:pt x="5393" y="1538"/>
                </a:lnTo>
                <a:lnTo>
                  <a:pt x="5357" y="1508"/>
                </a:lnTo>
                <a:lnTo>
                  <a:pt x="5320" y="1481"/>
                </a:lnTo>
                <a:lnTo>
                  <a:pt x="5282" y="1456"/>
                </a:lnTo>
                <a:lnTo>
                  <a:pt x="5246" y="1434"/>
                </a:lnTo>
                <a:lnTo>
                  <a:pt x="5211" y="1415"/>
                </a:lnTo>
                <a:lnTo>
                  <a:pt x="5177" y="1398"/>
                </a:lnTo>
                <a:lnTo>
                  <a:pt x="5144" y="1383"/>
                </a:lnTo>
                <a:lnTo>
                  <a:pt x="5113" y="1369"/>
                </a:lnTo>
                <a:lnTo>
                  <a:pt x="5084" y="1358"/>
                </a:lnTo>
                <a:lnTo>
                  <a:pt x="5057" y="1349"/>
                </a:lnTo>
                <a:lnTo>
                  <a:pt x="5034" y="1341"/>
                </a:lnTo>
                <a:lnTo>
                  <a:pt x="4994" y="1329"/>
                </a:lnTo>
                <a:lnTo>
                  <a:pt x="4970" y="1324"/>
                </a:lnTo>
                <a:lnTo>
                  <a:pt x="4961" y="1322"/>
                </a:lnTo>
                <a:close/>
                <a:moveTo>
                  <a:pt x="5127" y="2871"/>
                </a:moveTo>
                <a:lnTo>
                  <a:pt x="5127" y="2871"/>
                </a:lnTo>
                <a:lnTo>
                  <a:pt x="5094" y="2894"/>
                </a:lnTo>
                <a:lnTo>
                  <a:pt x="5062" y="2916"/>
                </a:lnTo>
                <a:lnTo>
                  <a:pt x="5030" y="2935"/>
                </a:lnTo>
                <a:lnTo>
                  <a:pt x="4997" y="2953"/>
                </a:lnTo>
                <a:lnTo>
                  <a:pt x="4964" y="2968"/>
                </a:lnTo>
                <a:lnTo>
                  <a:pt x="4929" y="2982"/>
                </a:lnTo>
                <a:lnTo>
                  <a:pt x="4912" y="2988"/>
                </a:lnTo>
                <a:lnTo>
                  <a:pt x="4894" y="2993"/>
                </a:lnTo>
                <a:lnTo>
                  <a:pt x="4876" y="2999"/>
                </a:lnTo>
                <a:lnTo>
                  <a:pt x="4858" y="3003"/>
                </a:lnTo>
                <a:lnTo>
                  <a:pt x="4839" y="3007"/>
                </a:lnTo>
                <a:lnTo>
                  <a:pt x="4819" y="3011"/>
                </a:lnTo>
                <a:lnTo>
                  <a:pt x="4798" y="3013"/>
                </a:lnTo>
                <a:lnTo>
                  <a:pt x="4777" y="3015"/>
                </a:lnTo>
                <a:lnTo>
                  <a:pt x="4756" y="3016"/>
                </a:lnTo>
                <a:lnTo>
                  <a:pt x="4732" y="3016"/>
                </a:lnTo>
                <a:lnTo>
                  <a:pt x="4709" y="3016"/>
                </a:lnTo>
                <a:lnTo>
                  <a:pt x="4685" y="3014"/>
                </a:lnTo>
                <a:lnTo>
                  <a:pt x="4660" y="3013"/>
                </a:lnTo>
                <a:lnTo>
                  <a:pt x="4633" y="3009"/>
                </a:lnTo>
                <a:lnTo>
                  <a:pt x="4606" y="3006"/>
                </a:lnTo>
                <a:lnTo>
                  <a:pt x="4578" y="3002"/>
                </a:lnTo>
                <a:lnTo>
                  <a:pt x="4518" y="2991"/>
                </a:lnTo>
                <a:lnTo>
                  <a:pt x="4453" y="2976"/>
                </a:lnTo>
                <a:lnTo>
                  <a:pt x="4444" y="2990"/>
                </a:lnTo>
                <a:lnTo>
                  <a:pt x="4433" y="3006"/>
                </a:lnTo>
                <a:lnTo>
                  <a:pt x="4418" y="3028"/>
                </a:lnTo>
                <a:lnTo>
                  <a:pt x="4398" y="3053"/>
                </a:lnTo>
                <a:lnTo>
                  <a:pt x="4374" y="3081"/>
                </a:lnTo>
                <a:lnTo>
                  <a:pt x="4347" y="3111"/>
                </a:lnTo>
                <a:lnTo>
                  <a:pt x="4315" y="3143"/>
                </a:lnTo>
                <a:lnTo>
                  <a:pt x="4298" y="3159"/>
                </a:lnTo>
                <a:lnTo>
                  <a:pt x="4280" y="3174"/>
                </a:lnTo>
                <a:lnTo>
                  <a:pt x="4262" y="3190"/>
                </a:lnTo>
                <a:lnTo>
                  <a:pt x="4242" y="3205"/>
                </a:lnTo>
                <a:lnTo>
                  <a:pt x="4221" y="3219"/>
                </a:lnTo>
                <a:lnTo>
                  <a:pt x="4200" y="3234"/>
                </a:lnTo>
                <a:lnTo>
                  <a:pt x="4178" y="3247"/>
                </a:lnTo>
                <a:lnTo>
                  <a:pt x="4154" y="3260"/>
                </a:lnTo>
                <a:lnTo>
                  <a:pt x="4131" y="3273"/>
                </a:lnTo>
                <a:lnTo>
                  <a:pt x="4105" y="3283"/>
                </a:lnTo>
                <a:lnTo>
                  <a:pt x="4080" y="3293"/>
                </a:lnTo>
                <a:lnTo>
                  <a:pt x="4054" y="3302"/>
                </a:lnTo>
                <a:lnTo>
                  <a:pt x="4026" y="3309"/>
                </a:lnTo>
                <a:lnTo>
                  <a:pt x="3999" y="3315"/>
                </a:lnTo>
                <a:lnTo>
                  <a:pt x="3971" y="3320"/>
                </a:lnTo>
                <a:lnTo>
                  <a:pt x="3941" y="3322"/>
                </a:lnTo>
                <a:lnTo>
                  <a:pt x="3912" y="3323"/>
                </a:lnTo>
                <a:lnTo>
                  <a:pt x="3883" y="3323"/>
                </a:lnTo>
                <a:lnTo>
                  <a:pt x="3857" y="3323"/>
                </a:lnTo>
                <a:lnTo>
                  <a:pt x="3829" y="3321"/>
                </a:lnTo>
                <a:lnTo>
                  <a:pt x="3803" y="3319"/>
                </a:lnTo>
                <a:lnTo>
                  <a:pt x="3778" y="3315"/>
                </a:lnTo>
                <a:lnTo>
                  <a:pt x="3753" y="3311"/>
                </a:lnTo>
                <a:lnTo>
                  <a:pt x="3730" y="3307"/>
                </a:lnTo>
                <a:lnTo>
                  <a:pt x="3707" y="3302"/>
                </a:lnTo>
                <a:lnTo>
                  <a:pt x="3685" y="3296"/>
                </a:lnTo>
                <a:lnTo>
                  <a:pt x="3642" y="3283"/>
                </a:lnTo>
                <a:lnTo>
                  <a:pt x="3604" y="3270"/>
                </a:lnTo>
                <a:lnTo>
                  <a:pt x="3569" y="3255"/>
                </a:lnTo>
                <a:lnTo>
                  <a:pt x="3536" y="3240"/>
                </a:lnTo>
                <a:lnTo>
                  <a:pt x="3507" y="3224"/>
                </a:lnTo>
                <a:lnTo>
                  <a:pt x="3480" y="3209"/>
                </a:lnTo>
                <a:lnTo>
                  <a:pt x="3458" y="3195"/>
                </a:lnTo>
                <a:lnTo>
                  <a:pt x="3422" y="3170"/>
                </a:lnTo>
                <a:lnTo>
                  <a:pt x="3398" y="3155"/>
                </a:lnTo>
                <a:lnTo>
                  <a:pt x="3380" y="3171"/>
                </a:lnTo>
                <a:lnTo>
                  <a:pt x="3357" y="3190"/>
                </a:lnTo>
                <a:lnTo>
                  <a:pt x="3326" y="3212"/>
                </a:lnTo>
                <a:lnTo>
                  <a:pt x="3286" y="3240"/>
                </a:lnTo>
                <a:lnTo>
                  <a:pt x="3239" y="3271"/>
                </a:lnTo>
                <a:lnTo>
                  <a:pt x="3185" y="3303"/>
                </a:lnTo>
                <a:lnTo>
                  <a:pt x="3155" y="3320"/>
                </a:lnTo>
                <a:lnTo>
                  <a:pt x="3124" y="3336"/>
                </a:lnTo>
                <a:lnTo>
                  <a:pt x="3091" y="3353"/>
                </a:lnTo>
                <a:lnTo>
                  <a:pt x="3057" y="3369"/>
                </a:lnTo>
                <a:lnTo>
                  <a:pt x="3022" y="3385"/>
                </a:lnTo>
                <a:lnTo>
                  <a:pt x="2985" y="3401"/>
                </a:lnTo>
                <a:lnTo>
                  <a:pt x="2946" y="3416"/>
                </a:lnTo>
                <a:lnTo>
                  <a:pt x="2906" y="3429"/>
                </a:lnTo>
                <a:lnTo>
                  <a:pt x="2865" y="3442"/>
                </a:lnTo>
                <a:lnTo>
                  <a:pt x="2822" y="3455"/>
                </a:lnTo>
                <a:lnTo>
                  <a:pt x="2780" y="3466"/>
                </a:lnTo>
                <a:lnTo>
                  <a:pt x="2735" y="3475"/>
                </a:lnTo>
                <a:lnTo>
                  <a:pt x="2689" y="3483"/>
                </a:lnTo>
                <a:lnTo>
                  <a:pt x="2643" y="3489"/>
                </a:lnTo>
                <a:lnTo>
                  <a:pt x="2596" y="3494"/>
                </a:lnTo>
                <a:lnTo>
                  <a:pt x="2547" y="3498"/>
                </a:lnTo>
                <a:lnTo>
                  <a:pt x="2498" y="3498"/>
                </a:lnTo>
                <a:lnTo>
                  <a:pt x="2449" y="3497"/>
                </a:lnTo>
                <a:lnTo>
                  <a:pt x="2400" y="3493"/>
                </a:lnTo>
                <a:lnTo>
                  <a:pt x="2352" y="3490"/>
                </a:lnTo>
                <a:lnTo>
                  <a:pt x="2305" y="3486"/>
                </a:lnTo>
                <a:lnTo>
                  <a:pt x="2261" y="3481"/>
                </a:lnTo>
                <a:lnTo>
                  <a:pt x="2217" y="3475"/>
                </a:lnTo>
                <a:lnTo>
                  <a:pt x="2174" y="3468"/>
                </a:lnTo>
                <a:lnTo>
                  <a:pt x="2133" y="3460"/>
                </a:lnTo>
                <a:lnTo>
                  <a:pt x="2092" y="3453"/>
                </a:lnTo>
                <a:lnTo>
                  <a:pt x="2053" y="3443"/>
                </a:lnTo>
                <a:lnTo>
                  <a:pt x="2014" y="3433"/>
                </a:lnTo>
                <a:lnTo>
                  <a:pt x="1977" y="3422"/>
                </a:lnTo>
                <a:lnTo>
                  <a:pt x="1941" y="3410"/>
                </a:lnTo>
                <a:lnTo>
                  <a:pt x="1904" y="3397"/>
                </a:lnTo>
                <a:lnTo>
                  <a:pt x="1869" y="3384"/>
                </a:lnTo>
                <a:lnTo>
                  <a:pt x="1835" y="3369"/>
                </a:lnTo>
                <a:lnTo>
                  <a:pt x="1801" y="3353"/>
                </a:lnTo>
                <a:lnTo>
                  <a:pt x="1768" y="3336"/>
                </a:lnTo>
                <a:lnTo>
                  <a:pt x="1735" y="3318"/>
                </a:lnTo>
                <a:lnTo>
                  <a:pt x="1703" y="3298"/>
                </a:lnTo>
                <a:lnTo>
                  <a:pt x="1671" y="3278"/>
                </a:lnTo>
                <a:lnTo>
                  <a:pt x="1639" y="3257"/>
                </a:lnTo>
                <a:lnTo>
                  <a:pt x="1608" y="3234"/>
                </a:lnTo>
                <a:lnTo>
                  <a:pt x="1576" y="3211"/>
                </a:lnTo>
                <a:lnTo>
                  <a:pt x="1545" y="3186"/>
                </a:lnTo>
                <a:lnTo>
                  <a:pt x="1514" y="3161"/>
                </a:lnTo>
                <a:lnTo>
                  <a:pt x="1483" y="3134"/>
                </a:lnTo>
                <a:lnTo>
                  <a:pt x="1452" y="3105"/>
                </a:lnTo>
                <a:lnTo>
                  <a:pt x="1421" y="3077"/>
                </a:lnTo>
                <a:lnTo>
                  <a:pt x="1389" y="3046"/>
                </a:lnTo>
                <a:lnTo>
                  <a:pt x="1358" y="3014"/>
                </a:lnTo>
                <a:lnTo>
                  <a:pt x="1327" y="2981"/>
                </a:lnTo>
                <a:lnTo>
                  <a:pt x="1295" y="2945"/>
                </a:lnTo>
                <a:lnTo>
                  <a:pt x="1260" y="2959"/>
                </a:lnTo>
                <a:lnTo>
                  <a:pt x="1224" y="2973"/>
                </a:lnTo>
                <a:lnTo>
                  <a:pt x="1179" y="2988"/>
                </a:lnTo>
                <a:lnTo>
                  <a:pt x="1155" y="2996"/>
                </a:lnTo>
                <a:lnTo>
                  <a:pt x="1128" y="3003"/>
                </a:lnTo>
                <a:lnTo>
                  <a:pt x="1103" y="3009"/>
                </a:lnTo>
                <a:lnTo>
                  <a:pt x="1076" y="3016"/>
                </a:lnTo>
                <a:lnTo>
                  <a:pt x="1050" y="3020"/>
                </a:lnTo>
                <a:lnTo>
                  <a:pt x="1025" y="3023"/>
                </a:lnTo>
                <a:lnTo>
                  <a:pt x="1001" y="3024"/>
                </a:lnTo>
                <a:lnTo>
                  <a:pt x="979" y="3024"/>
                </a:lnTo>
                <a:lnTo>
                  <a:pt x="953" y="3022"/>
                </a:lnTo>
                <a:lnTo>
                  <a:pt x="921" y="3017"/>
                </a:lnTo>
                <a:lnTo>
                  <a:pt x="883" y="3009"/>
                </a:lnTo>
                <a:lnTo>
                  <a:pt x="840" y="3000"/>
                </a:lnTo>
                <a:lnTo>
                  <a:pt x="817" y="2992"/>
                </a:lnTo>
                <a:lnTo>
                  <a:pt x="793" y="2985"/>
                </a:lnTo>
                <a:lnTo>
                  <a:pt x="769" y="2976"/>
                </a:lnTo>
                <a:lnTo>
                  <a:pt x="744" y="2967"/>
                </a:lnTo>
                <a:lnTo>
                  <a:pt x="719" y="2956"/>
                </a:lnTo>
                <a:lnTo>
                  <a:pt x="693" y="2943"/>
                </a:lnTo>
                <a:lnTo>
                  <a:pt x="669" y="2929"/>
                </a:lnTo>
                <a:lnTo>
                  <a:pt x="643" y="2915"/>
                </a:lnTo>
                <a:lnTo>
                  <a:pt x="619" y="2898"/>
                </a:lnTo>
                <a:lnTo>
                  <a:pt x="594" y="2879"/>
                </a:lnTo>
                <a:lnTo>
                  <a:pt x="571" y="2859"/>
                </a:lnTo>
                <a:lnTo>
                  <a:pt x="547" y="2838"/>
                </a:lnTo>
                <a:lnTo>
                  <a:pt x="525" y="2814"/>
                </a:lnTo>
                <a:lnTo>
                  <a:pt x="503" y="2790"/>
                </a:lnTo>
                <a:lnTo>
                  <a:pt x="483" y="2762"/>
                </a:lnTo>
                <a:lnTo>
                  <a:pt x="465" y="2733"/>
                </a:lnTo>
                <a:lnTo>
                  <a:pt x="447" y="2702"/>
                </a:lnTo>
                <a:lnTo>
                  <a:pt x="432" y="2668"/>
                </a:lnTo>
                <a:lnTo>
                  <a:pt x="418" y="2633"/>
                </a:lnTo>
                <a:lnTo>
                  <a:pt x="412" y="2615"/>
                </a:lnTo>
                <a:lnTo>
                  <a:pt x="405" y="2596"/>
                </a:lnTo>
                <a:lnTo>
                  <a:pt x="400" y="2576"/>
                </a:lnTo>
                <a:lnTo>
                  <a:pt x="396" y="2555"/>
                </a:lnTo>
                <a:lnTo>
                  <a:pt x="391" y="2535"/>
                </a:lnTo>
                <a:lnTo>
                  <a:pt x="388" y="2513"/>
                </a:lnTo>
                <a:lnTo>
                  <a:pt x="385" y="2490"/>
                </a:lnTo>
                <a:lnTo>
                  <a:pt x="383" y="2468"/>
                </a:lnTo>
                <a:lnTo>
                  <a:pt x="381" y="2444"/>
                </a:lnTo>
                <a:lnTo>
                  <a:pt x="380" y="2421"/>
                </a:lnTo>
                <a:lnTo>
                  <a:pt x="379" y="2396"/>
                </a:lnTo>
                <a:lnTo>
                  <a:pt x="380" y="2373"/>
                </a:lnTo>
                <a:lnTo>
                  <a:pt x="381" y="2350"/>
                </a:lnTo>
                <a:lnTo>
                  <a:pt x="382" y="2327"/>
                </a:lnTo>
                <a:lnTo>
                  <a:pt x="384" y="2305"/>
                </a:lnTo>
                <a:lnTo>
                  <a:pt x="387" y="2282"/>
                </a:lnTo>
                <a:lnTo>
                  <a:pt x="390" y="2261"/>
                </a:lnTo>
                <a:lnTo>
                  <a:pt x="395" y="2241"/>
                </a:lnTo>
                <a:lnTo>
                  <a:pt x="400" y="2221"/>
                </a:lnTo>
                <a:lnTo>
                  <a:pt x="405" y="2200"/>
                </a:lnTo>
                <a:lnTo>
                  <a:pt x="412" y="2181"/>
                </a:lnTo>
                <a:lnTo>
                  <a:pt x="418" y="2162"/>
                </a:lnTo>
                <a:lnTo>
                  <a:pt x="424" y="2144"/>
                </a:lnTo>
                <a:lnTo>
                  <a:pt x="433" y="2126"/>
                </a:lnTo>
                <a:lnTo>
                  <a:pt x="440" y="2109"/>
                </a:lnTo>
                <a:lnTo>
                  <a:pt x="449" y="2092"/>
                </a:lnTo>
                <a:lnTo>
                  <a:pt x="468" y="2059"/>
                </a:lnTo>
                <a:lnTo>
                  <a:pt x="488" y="2028"/>
                </a:lnTo>
                <a:lnTo>
                  <a:pt x="510" y="1999"/>
                </a:lnTo>
                <a:lnTo>
                  <a:pt x="534" y="1972"/>
                </a:lnTo>
                <a:lnTo>
                  <a:pt x="559" y="1947"/>
                </a:lnTo>
                <a:lnTo>
                  <a:pt x="585" y="1923"/>
                </a:lnTo>
                <a:lnTo>
                  <a:pt x="612" y="1902"/>
                </a:lnTo>
                <a:lnTo>
                  <a:pt x="641" y="1882"/>
                </a:lnTo>
                <a:lnTo>
                  <a:pt x="671" y="1863"/>
                </a:lnTo>
                <a:lnTo>
                  <a:pt x="701" y="1846"/>
                </a:lnTo>
                <a:lnTo>
                  <a:pt x="732" y="1833"/>
                </a:lnTo>
                <a:lnTo>
                  <a:pt x="762" y="1819"/>
                </a:lnTo>
                <a:lnTo>
                  <a:pt x="794" y="1808"/>
                </a:lnTo>
                <a:lnTo>
                  <a:pt x="826" y="1798"/>
                </a:lnTo>
                <a:lnTo>
                  <a:pt x="858" y="1791"/>
                </a:lnTo>
                <a:lnTo>
                  <a:pt x="890" y="1785"/>
                </a:lnTo>
                <a:lnTo>
                  <a:pt x="922" y="1780"/>
                </a:lnTo>
                <a:lnTo>
                  <a:pt x="954" y="1777"/>
                </a:lnTo>
                <a:lnTo>
                  <a:pt x="985" y="1776"/>
                </a:lnTo>
                <a:lnTo>
                  <a:pt x="1016" y="1777"/>
                </a:lnTo>
                <a:lnTo>
                  <a:pt x="1046" y="1779"/>
                </a:lnTo>
                <a:lnTo>
                  <a:pt x="1076" y="1782"/>
                </a:lnTo>
                <a:lnTo>
                  <a:pt x="1105" y="1788"/>
                </a:lnTo>
                <a:lnTo>
                  <a:pt x="1132" y="1795"/>
                </a:lnTo>
                <a:lnTo>
                  <a:pt x="1128" y="1777"/>
                </a:lnTo>
                <a:lnTo>
                  <a:pt x="1125" y="1757"/>
                </a:lnTo>
                <a:lnTo>
                  <a:pt x="1122" y="1729"/>
                </a:lnTo>
                <a:lnTo>
                  <a:pt x="1119" y="1696"/>
                </a:lnTo>
                <a:lnTo>
                  <a:pt x="1118" y="1658"/>
                </a:lnTo>
                <a:lnTo>
                  <a:pt x="1118" y="1615"/>
                </a:lnTo>
                <a:lnTo>
                  <a:pt x="1119" y="1593"/>
                </a:lnTo>
                <a:lnTo>
                  <a:pt x="1121" y="1569"/>
                </a:lnTo>
                <a:lnTo>
                  <a:pt x="1124" y="1546"/>
                </a:lnTo>
                <a:lnTo>
                  <a:pt x="1128" y="1520"/>
                </a:lnTo>
                <a:lnTo>
                  <a:pt x="1132" y="1496"/>
                </a:lnTo>
                <a:lnTo>
                  <a:pt x="1139" y="1470"/>
                </a:lnTo>
                <a:lnTo>
                  <a:pt x="1146" y="1444"/>
                </a:lnTo>
                <a:lnTo>
                  <a:pt x="1155" y="1419"/>
                </a:lnTo>
                <a:lnTo>
                  <a:pt x="1164" y="1393"/>
                </a:lnTo>
                <a:lnTo>
                  <a:pt x="1176" y="1368"/>
                </a:lnTo>
                <a:lnTo>
                  <a:pt x="1189" y="1342"/>
                </a:lnTo>
                <a:lnTo>
                  <a:pt x="1204" y="1317"/>
                </a:lnTo>
                <a:lnTo>
                  <a:pt x="1221" y="1292"/>
                </a:lnTo>
                <a:lnTo>
                  <a:pt x="1239" y="1268"/>
                </a:lnTo>
                <a:lnTo>
                  <a:pt x="1259" y="1244"/>
                </a:lnTo>
                <a:lnTo>
                  <a:pt x="1282" y="1222"/>
                </a:lnTo>
                <a:lnTo>
                  <a:pt x="1306" y="1199"/>
                </a:lnTo>
                <a:lnTo>
                  <a:pt x="1334" y="1178"/>
                </a:lnTo>
                <a:lnTo>
                  <a:pt x="1363" y="1157"/>
                </a:lnTo>
                <a:lnTo>
                  <a:pt x="1393" y="1137"/>
                </a:lnTo>
                <a:lnTo>
                  <a:pt x="1420" y="1119"/>
                </a:lnTo>
                <a:lnTo>
                  <a:pt x="1448" y="1102"/>
                </a:lnTo>
                <a:lnTo>
                  <a:pt x="1476" y="1087"/>
                </a:lnTo>
                <a:lnTo>
                  <a:pt x="1502" y="1074"/>
                </a:lnTo>
                <a:lnTo>
                  <a:pt x="1529" y="1062"/>
                </a:lnTo>
                <a:lnTo>
                  <a:pt x="1555" y="1051"/>
                </a:lnTo>
                <a:lnTo>
                  <a:pt x="1580" y="1042"/>
                </a:lnTo>
                <a:lnTo>
                  <a:pt x="1606" y="1034"/>
                </a:lnTo>
                <a:lnTo>
                  <a:pt x="1630" y="1027"/>
                </a:lnTo>
                <a:lnTo>
                  <a:pt x="1656" y="1022"/>
                </a:lnTo>
                <a:lnTo>
                  <a:pt x="1681" y="1018"/>
                </a:lnTo>
                <a:lnTo>
                  <a:pt x="1705" y="1016"/>
                </a:lnTo>
                <a:lnTo>
                  <a:pt x="1730" y="1015"/>
                </a:lnTo>
                <a:lnTo>
                  <a:pt x="1754" y="1015"/>
                </a:lnTo>
                <a:lnTo>
                  <a:pt x="1779" y="1016"/>
                </a:lnTo>
                <a:lnTo>
                  <a:pt x="1803" y="1018"/>
                </a:lnTo>
                <a:lnTo>
                  <a:pt x="1828" y="1022"/>
                </a:lnTo>
                <a:lnTo>
                  <a:pt x="1852" y="1028"/>
                </a:lnTo>
                <a:lnTo>
                  <a:pt x="1878" y="1033"/>
                </a:lnTo>
                <a:lnTo>
                  <a:pt x="1903" y="1040"/>
                </a:lnTo>
                <a:lnTo>
                  <a:pt x="1929" y="1049"/>
                </a:lnTo>
                <a:lnTo>
                  <a:pt x="1955" y="1059"/>
                </a:lnTo>
                <a:lnTo>
                  <a:pt x="1980" y="1068"/>
                </a:lnTo>
                <a:lnTo>
                  <a:pt x="2007" y="1080"/>
                </a:lnTo>
                <a:lnTo>
                  <a:pt x="2035" y="1093"/>
                </a:lnTo>
                <a:lnTo>
                  <a:pt x="2062" y="1107"/>
                </a:lnTo>
                <a:lnTo>
                  <a:pt x="2119" y="1136"/>
                </a:lnTo>
                <a:lnTo>
                  <a:pt x="2178" y="1169"/>
                </a:lnTo>
                <a:lnTo>
                  <a:pt x="2182" y="1161"/>
                </a:lnTo>
                <a:lnTo>
                  <a:pt x="2191" y="1136"/>
                </a:lnTo>
                <a:lnTo>
                  <a:pt x="2209" y="1098"/>
                </a:lnTo>
                <a:lnTo>
                  <a:pt x="2221" y="1075"/>
                </a:lnTo>
                <a:lnTo>
                  <a:pt x="2235" y="1049"/>
                </a:lnTo>
                <a:lnTo>
                  <a:pt x="2251" y="1021"/>
                </a:lnTo>
                <a:lnTo>
                  <a:pt x="2269" y="990"/>
                </a:lnTo>
                <a:lnTo>
                  <a:pt x="2290" y="958"/>
                </a:lnTo>
                <a:lnTo>
                  <a:pt x="2313" y="925"/>
                </a:lnTo>
                <a:lnTo>
                  <a:pt x="2337" y="891"/>
                </a:lnTo>
                <a:lnTo>
                  <a:pt x="2365" y="856"/>
                </a:lnTo>
                <a:lnTo>
                  <a:pt x="2395" y="820"/>
                </a:lnTo>
                <a:lnTo>
                  <a:pt x="2427" y="784"/>
                </a:lnTo>
                <a:lnTo>
                  <a:pt x="2462" y="747"/>
                </a:lnTo>
                <a:lnTo>
                  <a:pt x="2499" y="712"/>
                </a:lnTo>
                <a:lnTo>
                  <a:pt x="2540" y="677"/>
                </a:lnTo>
                <a:lnTo>
                  <a:pt x="2583" y="642"/>
                </a:lnTo>
                <a:lnTo>
                  <a:pt x="2606" y="625"/>
                </a:lnTo>
                <a:lnTo>
                  <a:pt x="2628" y="609"/>
                </a:lnTo>
                <a:lnTo>
                  <a:pt x="2653" y="593"/>
                </a:lnTo>
                <a:lnTo>
                  <a:pt x="2677" y="577"/>
                </a:lnTo>
                <a:lnTo>
                  <a:pt x="2703" y="561"/>
                </a:lnTo>
                <a:lnTo>
                  <a:pt x="2729" y="546"/>
                </a:lnTo>
                <a:lnTo>
                  <a:pt x="2755" y="532"/>
                </a:lnTo>
                <a:lnTo>
                  <a:pt x="2783" y="518"/>
                </a:lnTo>
                <a:lnTo>
                  <a:pt x="2812" y="504"/>
                </a:lnTo>
                <a:lnTo>
                  <a:pt x="2841" y="491"/>
                </a:lnTo>
                <a:lnTo>
                  <a:pt x="2870" y="480"/>
                </a:lnTo>
                <a:lnTo>
                  <a:pt x="2901" y="468"/>
                </a:lnTo>
                <a:lnTo>
                  <a:pt x="2933" y="457"/>
                </a:lnTo>
                <a:lnTo>
                  <a:pt x="2965" y="448"/>
                </a:lnTo>
                <a:lnTo>
                  <a:pt x="2998" y="438"/>
                </a:lnTo>
                <a:lnTo>
                  <a:pt x="3033" y="430"/>
                </a:lnTo>
                <a:lnTo>
                  <a:pt x="3067" y="422"/>
                </a:lnTo>
                <a:lnTo>
                  <a:pt x="3102" y="415"/>
                </a:lnTo>
                <a:lnTo>
                  <a:pt x="3139" y="409"/>
                </a:lnTo>
                <a:lnTo>
                  <a:pt x="3175" y="404"/>
                </a:lnTo>
                <a:lnTo>
                  <a:pt x="3214" y="401"/>
                </a:lnTo>
                <a:lnTo>
                  <a:pt x="3252" y="398"/>
                </a:lnTo>
                <a:lnTo>
                  <a:pt x="3293" y="396"/>
                </a:lnTo>
                <a:lnTo>
                  <a:pt x="3333" y="396"/>
                </a:lnTo>
                <a:lnTo>
                  <a:pt x="3374" y="396"/>
                </a:lnTo>
                <a:lnTo>
                  <a:pt x="3414" y="397"/>
                </a:lnTo>
                <a:lnTo>
                  <a:pt x="3454" y="400"/>
                </a:lnTo>
                <a:lnTo>
                  <a:pt x="3492" y="403"/>
                </a:lnTo>
                <a:lnTo>
                  <a:pt x="3530" y="407"/>
                </a:lnTo>
                <a:lnTo>
                  <a:pt x="3568" y="414"/>
                </a:lnTo>
                <a:lnTo>
                  <a:pt x="3605" y="420"/>
                </a:lnTo>
                <a:lnTo>
                  <a:pt x="3641" y="427"/>
                </a:lnTo>
                <a:lnTo>
                  <a:pt x="3678" y="436"/>
                </a:lnTo>
                <a:lnTo>
                  <a:pt x="3712" y="446"/>
                </a:lnTo>
                <a:lnTo>
                  <a:pt x="3747" y="456"/>
                </a:lnTo>
                <a:lnTo>
                  <a:pt x="3781" y="467"/>
                </a:lnTo>
                <a:lnTo>
                  <a:pt x="3814" y="479"/>
                </a:lnTo>
                <a:lnTo>
                  <a:pt x="3846" y="491"/>
                </a:lnTo>
                <a:lnTo>
                  <a:pt x="3878" y="505"/>
                </a:lnTo>
                <a:lnTo>
                  <a:pt x="3910" y="520"/>
                </a:lnTo>
                <a:lnTo>
                  <a:pt x="3940" y="535"/>
                </a:lnTo>
                <a:lnTo>
                  <a:pt x="3970" y="551"/>
                </a:lnTo>
                <a:lnTo>
                  <a:pt x="4000" y="568"/>
                </a:lnTo>
                <a:lnTo>
                  <a:pt x="4028" y="585"/>
                </a:lnTo>
                <a:lnTo>
                  <a:pt x="4056" y="603"/>
                </a:lnTo>
                <a:lnTo>
                  <a:pt x="4084" y="622"/>
                </a:lnTo>
                <a:lnTo>
                  <a:pt x="4111" y="641"/>
                </a:lnTo>
                <a:lnTo>
                  <a:pt x="4136" y="661"/>
                </a:lnTo>
                <a:lnTo>
                  <a:pt x="4162" y="681"/>
                </a:lnTo>
                <a:lnTo>
                  <a:pt x="4186" y="701"/>
                </a:lnTo>
                <a:lnTo>
                  <a:pt x="4211" y="724"/>
                </a:lnTo>
                <a:lnTo>
                  <a:pt x="4234" y="745"/>
                </a:lnTo>
                <a:lnTo>
                  <a:pt x="4257" y="768"/>
                </a:lnTo>
                <a:lnTo>
                  <a:pt x="4279" y="791"/>
                </a:lnTo>
                <a:lnTo>
                  <a:pt x="4300" y="813"/>
                </a:lnTo>
                <a:lnTo>
                  <a:pt x="4322" y="838"/>
                </a:lnTo>
                <a:lnTo>
                  <a:pt x="4342" y="861"/>
                </a:lnTo>
                <a:lnTo>
                  <a:pt x="4361" y="886"/>
                </a:lnTo>
                <a:lnTo>
                  <a:pt x="4380" y="910"/>
                </a:lnTo>
                <a:lnTo>
                  <a:pt x="4398" y="936"/>
                </a:lnTo>
                <a:lnTo>
                  <a:pt x="4415" y="961"/>
                </a:lnTo>
                <a:lnTo>
                  <a:pt x="4433" y="986"/>
                </a:lnTo>
                <a:lnTo>
                  <a:pt x="4449" y="1012"/>
                </a:lnTo>
                <a:lnTo>
                  <a:pt x="4463" y="1038"/>
                </a:lnTo>
                <a:lnTo>
                  <a:pt x="4478" y="1064"/>
                </a:lnTo>
                <a:lnTo>
                  <a:pt x="4492" y="1091"/>
                </a:lnTo>
                <a:lnTo>
                  <a:pt x="4506" y="1117"/>
                </a:lnTo>
                <a:lnTo>
                  <a:pt x="4518" y="1144"/>
                </a:lnTo>
                <a:lnTo>
                  <a:pt x="4531" y="1171"/>
                </a:lnTo>
                <a:lnTo>
                  <a:pt x="4541" y="1197"/>
                </a:lnTo>
                <a:lnTo>
                  <a:pt x="4552" y="1224"/>
                </a:lnTo>
                <a:lnTo>
                  <a:pt x="4562" y="1250"/>
                </a:lnTo>
                <a:lnTo>
                  <a:pt x="4571" y="1277"/>
                </a:lnTo>
                <a:lnTo>
                  <a:pt x="4580" y="1305"/>
                </a:lnTo>
                <a:lnTo>
                  <a:pt x="4587" y="1331"/>
                </a:lnTo>
                <a:lnTo>
                  <a:pt x="4595" y="1358"/>
                </a:lnTo>
                <a:lnTo>
                  <a:pt x="4601" y="1385"/>
                </a:lnTo>
                <a:lnTo>
                  <a:pt x="4606" y="1410"/>
                </a:lnTo>
                <a:lnTo>
                  <a:pt x="4612" y="1437"/>
                </a:lnTo>
                <a:lnTo>
                  <a:pt x="4616" y="1464"/>
                </a:lnTo>
                <a:lnTo>
                  <a:pt x="4619" y="1489"/>
                </a:lnTo>
                <a:lnTo>
                  <a:pt x="4622" y="1515"/>
                </a:lnTo>
                <a:lnTo>
                  <a:pt x="4624" y="1540"/>
                </a:lnTo>
                <a:lnTo>
                  <a:pt x="4626" y="1566"/>
                </a:lnTo>
                <a:lnTo>
                  <a:pt x="4627" y="1591"/>
                </a:lnTo>
                <a:lnTo>
                  <a:pt x="4627" y="1615"/>
                </a:lnTo>
                <a:lnTo>
                  <a:pt x="4626" y="1640"/>
                </a:lnTo>
                <a:lnTo>
                  <a:pt x="4624" y="1664"/>
                </a:lnTo>
                <a:lnTo>
                  <a:pt x="4632" y="1663"/>
                </a:lnTo>
                <a:lnTo>
                  <a:pt x="4655" y="1662"/>
                </a:lnTo>
                <a:lnTo>
                  <a:pt x="4691" y="1661"/>
                </a:lnTo>
                <a:lnTo>
                  <a:pt x="4713" y="1661"/>
                </a:lnTo>
                <a:lnTo>
                  <a:pt x="4738" y="1662"/>
                </a:lnTo>
                <a:lnTo>
                  <a:pt x="4764" y="1664"/>
                </a:lnTo>
                <a:lnTo>
                  <a:pt x="4793" y="1667"/>
                </a:lnTo>
                <a:lnTo>
                  <a:pt x="4823" y="1670"/>
                </a:lnTo>
                <a:lnTo>
                  <a:pt x="4855" y="1677"/>
                </a:lnTo>
                <a:lnTo>
                  <a:pt x="4887" y="1683"/>
                </a:lnTo>
                <a:lnTo>
                  <a:pt x="4921" y="1693"/>
                </a:lnTo>
                <a:lnTo>
                  <a:pt x="4955" y="1704"/>
                </a:lnTo>
                <a:lnTo>
                  <a:pt x="4990" y="1716"/>
                </a:lnTo>
                <a:lnTo>
                  <a:pt x="5024" y="1732"/>
                </a:lnTo>
                <a:lnTo>
                  <a:pt x="5060" y="1749"/>
                </a:lnTo>
                <a:lnTo>
                  <a:pt x="5077" y="1759"/>
                </a:lnTo>
                <a:lnTo>
                  <a:pt x="5094" y="1770"/>
                </a:lnTo>
                <a:lnTo>
                  <a:pt x="5110" y="1781"/>
                </a:lnTo>
                <a:lnTo>
                  <a:pt x="5127" y="1793"/>
                </a:lnTo>
                <a:lnTo>
                  <a:pt x="5143" y="1806"/>
                </a:lnTo>
                <a:lnTo>
                  <a:pt x="5159" y="1820"/>
                </a:lnTo>
                <a:lnTo>
                  <a:pt x="5175" y="1834"/>
                </a:lnTo>
                <a:lnTo>
                  <a:pt x="5191" y="1849"/>
                </a:lnTo>
                <a:lnTo>
                  <a:pt x="5206" y="1865"/>
                </a:lnTo>
                <a:lnTo>
                  <a:pt x="5221" y="1882"/>
                </a:lnTo>
                <a:lnTo>
                  <a:pt x="5234" y="1899"/>
                </a:lnTo>
                <a:lnTo>
                  <a:pt x="5248" y="1918"/>
                </a:lnTo>
                <a:lnTo>
                  <a:pt x="5262" y="1937"/>
                </a:lnTo>
                <a:lnTo>
                  <a:pt x="5275" y="1957"/>
                </a:lnTo>
                <a:lnTo>
                  <a:pt x="5287" y="1979"/>
                </a:lnTo>
                <a:lnTo>
                  <a:pt x="5298" y="2001"/>
                </a:lnTo>
                <a:lnTo>
                  <a:pt x="5310" y="2024"/>
                </a:lnTo>
                <a:lnTo>
                  <a:pt x="5320" y="2049"/>
                </a:lnTo>
                <a:lnTo>
                  <a:pt x="5329" y="2075"/>
                </a:lnTo>
                <a:lnTo>
                  <a:pt x="5339" y="2101"/>
                </a:lnTo>
                <a:lnTo>
                  <a:pt x="5347" y="2129"/>
                </a:lnTo>
                <a:lnTo>
                  <a:pt x="5355" y="2158"/>
                </a:lnTo>
                <a:lnTo>
                  <a:pt x="5361" y="2188"/>
                </a:lnTo>
                <a:lnTo>
                  <a:pt x="5367" y="2218"/>
                </a:lnTo>
                <a:lnTo>
                  <a:pt x="5372" y="2250"/>
                </a:lnTo>
                <a:lnTo>
                  <a:pt x="5376" y="2285"/>
                </a:lnTo>
                <a:lnTo>
                  <a:pt x="5378" y="2319"/>
                </a:lnTo>
                <a:lnTo>
                  <a:pt x="5380" y="2355"/>
                </a:lnTo>
                <a:lnTo>
                  <a:pt x="5380" y="2376"/>
                </a:lnTo>
                <a:lnTo>
                  <a:pt x="5379" y="2401"/>
                </a:lnTo>
                <a:lnTo>
                  <a:pt x="5376" y="2428"/>
                </a:lnTo>
                <a:lnTo>
                  <a:pt x="5372" y="2458"/>
                </a:lnTo>
                <a:lnTo>
                  <a:pt x="5364" y="2491"/>
                </a:lnTo>
                <a:lnTo>
                  <a:pt x="5356" y="2525"/>
                </a:lnTo>
                <a:lnTo>
                  <a:pt x="5344" y="2562"/>
                </a:lnTo>
                <a:lnTo>
                  <a:pt x="5331" y="2599"/>
                </a:lnTo>
                <a:lnTo>
                  <a:pt x="5315" y="2635"/>
                </a:lnTo>
                <a:lnTo>
                  <a:pt x="5297" y="2673"/>
                </a:lnTo>
                <a:lnTo>
                  <a:pt x="5287" y="2692"/>
                </a:lnTo>
                <a:lnTo>
                  <a:pt x="5276" y="2710"/>
                </a:lnTo>
                <a:lnTo>
                  <a:pt x="5264" y="2728"/>
                </a:lnTo>
                <a:lnTo>
                  <a:pt x="5253" y="2746"/>
                </a:lnTo>
                <a:lnTo>
                  <a:pt x="5240" y="2763"/>
                </a:lnTo>
                <a:lnTo>
                  <a:pt x="5226" y="2780"/>
                </a:lnTo>
                <a:lnTo>
                  <a:pt x="5211" y="2797"/>
                </a:lnTo>
                <a:lnTo>
                  <a:pt x="5196" y="2813"/>
                </a:lnTo>
                <a:lnTo>
                  <a:pt x="5180" y="2828"/>
                </a:lnTo>
                <a:lnTo>
                  <a:pt x="5163" y="2843"/>
                </a:lnTo>
                <a:lnTo>
                  <a:pt x="5146" y="2858"/>
                </a:lnTo>
                <a:lnTo>
                  <a:pt x="5127" y="2871"/>
                </a:lnTo>
                <a:close/>
              </a:path>
            </a:pathLst>
          </a:custGeom>
          <a:gradFill rotWithShape="1">
            <a:gsLst>
              <a:gs pos="0">
                <a:srgbClr val="FF93CC"/>
              </a:gs>
              <a:gs pos="39999">
                <a:srgbClr val="FA0083"/>
              </a:gs>
              <a:gs pos="44000">
                <a:srgbClr val="E20074"/>
              </a:gs>
              <a:gs pos="100000">
                <a:srgbClr val="A80058"/>
              </a:gs>
            </a:gsLst>
            <a:lin ang="5400000" scaled="1"/>
          </a:gradFill>
          <a:ln w="9525" algn="ctr">
            <a:solidFill>
              <a:schemeClr val="tx2">
                <a:lumMod val="75000"/>
              </a:schemeClr>
            </a:solidFill>
            <a:round/>
            <a:headEnd/>
            <a:tailEnd/>
          </a:ln>
          <a:effectLst/>
        </p:spPr>
        <p:txBody>
          <a:bodyPr lIns="0" tIns="0" rIns="0" bIns="0" anchor="ctr"/>
          <a:lstStyle/>
          <a:p>
            <a:pPr algn="ctr" defTabSz="914400">
              <a:lnSpc>
                <a:spcPts val="1400"/>
              </a:lnSpc>
              <a:spcBef>
                <a:spcPct val="50000"/>
              </a:spcBef>
              <a:buClr>
                <a:srgbClr val="E20074"/>
              </a:buClr>
              <a:buSzPct val="75000"/>
              <a:buFont typeface="Wingdings" pitchFamily="2" charset="2"/>
              <a:buNone/>
              <a:defRPr/>
            </a:pPr>
            <a:r>
              <a:rPr lang="en-US" sz="1600" dirty="0">
                <a:solidFill>
                  <a:srgbClr val="000000"/>
                </a:solidFill>
                <a:latin typeface="Tele-GroteskNor" pitchFamily="2" charset="0"/>
              </a:rPr>
              <a:t/>
            </a:r>
            <a:br>
              <a:rPr lang="en-US" sz="1600" dirty="0">
                <a:solidFill>
                  <a:srgbClr val="000000"/>
                </a:solidFill>
                <a:latin typeface="Tele-GroteskNor" pitchFamily="2" charset="0"/>
              </a:rPr>
            </a:br>
            <a:r>
              <a:rPr lang="en-US" sz="1600" dirty="0">
                <a:solidFill>
                  <a:srgbClr val="000000"/>
                </a:solidFill>
                <a:latin typeface="Tele-GroteskNor" pitchFamily="2" charset="0"/>
              </a:rPr>
              <a:t> </a:t>
            </a:r>
            <a:br>
              <a:rPr lang="en-US" sz="1600" dirty="0">
                <a:solidFill>
                  <a:srgbClr val="000000"/>
                </a:solidFill>
                <a:latin typeface="Tele-GroteskNor" pitchFamily="2" charset="0"/>
              </a:rPr>
            </a:br>
            <a:endParaRPr lang="en-US" sz="1600" b="1" dirty="0">
              <a:solidFill>
                <a:srgbClr val="E20074"/>
              </a:solidFill>
              <a:latin typeface="Tele-GroteskNor" pitchFamily="2" charset="0"/>
            </a:endParaRPr>
          </a:p>
        </p:txBody>
      </p:sp>
      <p:sp>
        <p:nvSpPr>
          <p:cNvPr id="14349" name="Rectangle 22"/>
          <p:cNvSpPr>
            <a:spLocks noChangeArrowheads="1"/>
          </p:cNvSpPr>
          <p:nvPr/>
        </p:nvSpPr>
        <p:spPr bwMode="auto">
          <a:xfrm>
            <a:off x="2071688" y="5542153"/>
            <a:ext cx="1843087" cy="1190625"/>
          </a:xfrm>
          <a:prstGeom prst="rect">
            <a:avLst/>
          </a:prstGeom>
          <a:noFill/>
          <a:ln w="9525">
            <a:noFill/>
            <a:miter lim="800000"/>
            <a:headEnd/>
            <a:tailEnd/>
          </a:ln>
        </p:spPr>
        <p:txBody>
          <a:bodyPr wrap="none">
            <a:spAutoFit/>
          </a:bodyPr>
          <a:lstStyle/>
          <a:p>
            <a:pPr algn="ctr" defTabSz="914400">
              <a:lnSpc>
                <a:spcPct val="90000"/>
              </a:lnSpc>
              <a:spcBef>
                <a:spcPct val="50000"/>
              </a:spcBef>
              <a:buClr>
                <a:srgbClr val="E20074"/>
              </a:buClr>
              <a:buSzPct val="75000"/>
              <a:buFont typeface="Wingdings" pitchFamily="2" charset="2"/>
              <a:buNone/>
            </a:pPr>
            <a:r>
              <a:rPr lang="de-DE" sz="4000" dirty="0">
                <a:solidFill>
                  <a:srgbClr val="E20074"/>
                </a:solidFill>
                <a:latin typeface="Tele-GroteskFet" pitchFamily="2" charset="0"/>
              </a:rPr>
              <a:t>Telekom</a:t>
            </a:r>
            <a:br>
              <a:rPr lang="de-DE" sz="4000" dirty="0">
                <a:solidFill>
                  <a:srgbClr val="E20074"/>
                </a:solidFill>
                <a:latin typeface="Tele-GroteskFet" pitchFamily="2" charset="0"/>
              </a:rPr>
            </a:br>
            <a:r>
              <a:rPr lang="de-DE" sz="4000" b="1" dirty="0">
                <a:solidFill>
                  <a:srgbClr val="E20074"/>
                </a:solidFill>
                <a:latin typeface="Tele-GroteskFet" pitchFamily="2" charset="0"/>
              </a:rPr>
              <a:t>Cloud</a:t>
            </a:r>
          </a:p>
        </p:txBody>
      </p:sp>
    </p:spTree>
  </p:cSld>
  <p:clrMapOvr>
    <a:masterClrMapping/>
  </p:clrMapOvr>
  <p:transition advClick="0" advTm="15000"/>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CustomShape 1"/>
          <p:cNvSpPr/>
          <p:nvPr/>
        </p:nvSpPr>
        <p:spPr>
          <a:xfrm>
            <a:off x="0" y="0"/>
            <a:ext cx="11765160" cy="1702080"/>
          </a:xfrm>
          <a:prstGeom prst="rect">
            <a:avLst/>
          </a:prstGeom>
          <a:solidFill>
            <a:srgbClr val="A6A6A6"/>
          </a:solidFill>
        </p:spPr>
      </p:sp>
      <p:sp>
        <p:nvSpPr>
          <p:cNvPr id="35" name="CustomShape 2"/>
          <p:cNvSpPr/>
          <p:nvPr/>
        </p:nvSpPr>
        <p:spPr>
          <a:xfrm>
            <a:off x="0" y="1716480"/>
            <a:ext cx="13002480" cy="2751840"/>
          </a:xfrm>
          <a:prstGeom prst="rect">
            <a:avLst/>
          </a:prstGeom>
          <a:solidFill>
            <a:srgbClr val="B6261F"/>
          </a:solidFill>
        </p:spPr>
      </p:sp>
      <p:pic>
        <p:nvPicPr>
          <p:cNvPr id="36" name="Picture 3"/>
          <p:cNvPicPr/>
          <p:nvPr/>
        </p:nvPicPr>
        <p:blipFill>
          <a:blip r:embed="rId2" cstate="print"/>
          <a:stretch>
            <a:fillRect/>
          </a:stretch>
        </p:blipFill>
        <p:spPr>
          <a:xfrm>
            <a:off x="11859840" y="584280"/>
            <a:ext cx="942480" cy="866880"/>
          </a:xfrm>
          <a:prstGeom prst="rect">
            <a:avLst/>
          </a:prstGeom>
        </p:spPr>
      </p:pic>
      <p:sp>
        <p:nvSpPr>
          <p:cNvPr id="37" name="CustomShape 3"/>
          <p:cNvSpPr/>
          <p:nvPr/>
        </p:nvSpPr>
        <p:spPr>
          <a:xfrm>
            <a:off x="654120" y="649800"/>
            <a:ext cx="10283400" cy="607680"/>
          </a:xfrm>
          <a:prstGeom prst="rect">
            <a:avLst/>
          </a:prstGeom>
        </p:spPr>
        <p:txBody>
          <a:bodyPr lIns="90000" tIns="45000" rIns="90000" bIns="45000"/>
          <a:lstStyle/>
          <a:p>
            <a:pPr>
              <a:lnSpc>
                <a:spcPct val="100000"/>
              </a:lnSpc>
            </a:pPr>
            <a:r>
              <a:rPr lang="fr-FR" sz="3400" b="1">
                <a:solidFill>
                  <a:srgbClr val="404040"/>
                </a:solidFill>
                <a:latin typeface="Helvetica Neue"/>
              </a:rPr>
              <a:t>eNovance </a:t>
            </a:r>
            <a:r>
              <a:rPr lang="fr-FR" sz="3400">
                <a:solidFill>
                  <a:srgbClr val="404040"/>
                </a:solidFill>
                <a:latin typeface="Helvetica Neue"/>
              </a:rPr>
              <a:t>uses OpenStack</a:t>
            </a:r>
            <a:endParaRPr/>
          </a:p>
        </p:txBody>
      </p:sp>
      <p:sp>
        <p:nvSpPr>
          <p:cNvPr id="38" name="CustomShape 4"/>
          <p:cNvSpPr/>
          <p:nvPr/>
        </p:nvSpPr>
        <p:spPr>
          <a:xfrm>
            <a:off x="6073569" y="6531010"/>
            <a:ext cx="6675840" cy="3216240"/>
          </a:xfrm>
          <a:prstGeom prst="rect">
            <a:avLst/>
          </a:prstGeom>
        </p:spPr>
        <p:txBody>
          <a:bodyPr lIns="50760" tIns="50760" rIns="50760" bIns="50760"/>
          <a:lstStyle/>
          <a:p>
            <a:pPr marL="342900" indent="-342900">
              <a:lnSpc>
                <a:spcPct val="130000"/>
              </a:lnSpc>
              <a:buClr>
                <a:srgbClr val="800000"/>
              </a:buClr>
              <a:buFont typeface="Lucida Grande"/>
              <a:buChar char="‣"/>
            </a:pPr>
            <a:r>
              <a:rPr lang="fr-FR" sz="2000" dirty="0">
                <a:solidFill>
                  <a:srgbClr val="404040"/>
                </a:solidFill>
                <a:latin typeface="Helvetica Neue"/>
                <a:ea typeface="Helvetica Neue"/>
                <a:cs typeface="Helvetica Neue"/>
              </a:rPr>
              <a:t>Web, Cloud &amp; </a:t>
            </a:r>
            <a:r>
              <a:rPr lang="fr-FR" sz="2000" dirty="0" err="1">
                <a:solidFill>
                  <a:srgbClr val="404040"/>
                </a:solidFill>
                <a:latin typeface="Helvetica Neue"/>
                <a:ea typeface="Helvetica Neue"/>
                <a:cs typeface="Helvetica Neue"/>
              </a:rPr>
              <a:t>Big</a:t>
            </a:r>
            <a:r>
              <a:rPr lang="fr-FR" sz="2000" dirty="0">
                <a:solidFill>
                  <a:srgbClr val="404040"/>
                </a:solidFill>
                <a:latin typeface="Helvetica Neue"/>
                <a:ea typeface="Helvetica Neue"/>
                <a:cs typeface="Helvetica Neue"/>
              </a:rPr>
              <a:t> Data expert</a:t>
            </a:r>
            <a:endParaRPr sz="2000" dirty="0">
              <a:latin typeface="Helvetica Neue"/>
              <a:cs typeface="Helvetica Neue"/>
            </a:endParaRPr>
          </a:p>
          <a:p>
            <a:pPr marL="342900" indent="-342900">
              <a:lnSpc>
                <a:spcPct val="130000"/>
              </a:lnSpc>
              <a:buClr>
                <a:srgbClr val="800000"/>
              </a:buClr>
              <a:buFont typeface="Lucida Grande"/>
              <a:buChar char="‣"/>
            </a:pPr>
            <a:r>
              <a:rPr lang="fr-FR" sz="2000" dirty="0">
                <a:solidFill>
                  <a:srgbClr val="404040"/>
                </a:solidFill>
                <a:latin typeface="Helvetica Neue"/>
                <a:ea typeface="Helvetica Neue"/>
                <a:cs typeface="Helvetica Neue"/>
              </a:rPr>
              <a:t>Top 10 </a:t>
            </a:r>
            <a:r>
              <a:rPr lang="fr-FR" sz="2000" dirty="0" err="1">
                <a:solidFill>
                  <a:srgbClr val="404040"/>
                </a:solidFill>
                <a:latin typeface="Helvetica Neue"/>
                <a:ea typeface="Helvetica Neue"/>
                <a:cs typeface="Helvetica Neue"/>
              </a:rPr>
              <a:t>contributor</a:t>
            </a:r>
            <a:r>
              <a:rPr lang="fr-FR" sz="2000" dirty="0">
                <a:solidFill>
                  <a:srgbClr val="404040"/>
                </a:solidFill>
                <a:latin typeface="Helvetica Neue"/>
                <a:ea typeface="Helvetica Neue"/>
                <a:cs typeface="Helvetica Neue"/>
              </a:rPr>
              <a:t> </a:t>
            </a:r>
            <a:r>
              <a:rPr lang="fr-FR" sz="2000" dirty="0" smtClean="0">
                <a:solidFill>
                  <a:srgbClr val="404040"/>
                </a:solidFill>
                <a:latin typeface="Helvetica Neue"/>
                <a:ea typeface="Helvetica Neue"/>
                <a:cs typeface="Helvetica Neue"/>
              </a:rPr>
              <a:t>to the </a:t>
            </a:r>
            <a:r>
              <a:rPr lang="fr-FR" sz="2000" dirty="0">
                <a:solidFill>
                  <a:srgbClr val="404040"/>
                </a:solidFill>
                <a:latin typeface="Helvetica Neue"/>
                <a:ea typeface="Helvetica Neue"/>
                <a:cs typeface="Helvetica Neue"/>
              </a:rPr>
              <a:t>OpenStack </a:t>
            </a:r>
            <a:r>
              <a:rPr lang="fr-FR" sz="2000" dirty="0" err="1">
                <a:solidFill>
                  <a:srgbClr val="404040"/>
                </a:solidFill>
                <a:latin typeface="Helvetica Neue"/>
                <a:ea typeface="Helvetica Neue"/>
                <a:cs typeface="Helvetica Neue"/>
              </a:rPr>
              <a:t>project</a:t>
            </a:r>
            <a:endParaRPr sz="2000" dirty="0">
              <a:latin typeface="Helvetica Neue"/>
              <a:cs typeface="Helvetica Neue"/>
            </a:endParaRPr>
          </a:p>
          <a:p>
            <a:pPr marL="342900" indent="-342900">
              <a:lnSpc>
                <a:spcPct val="130000"/>
              </a:lnSpc>
              <a:buClr>
                <a:srgbClr val="800000"/>
              </a:buClr>
              <a:buFont typeface="Lucida Grande"/>
              <a:buChar char="‣"/>
            </a:pPr>
            <a:r>
              <a:rPr lang="fr-FR" sz="2000" dirty="0">
                <a:solidFill>
                  <a:srgbClr val="404040"/>
                </a:solidFill>
                <a:latin typeface="Helvetica Neue"/>
                <a:ea typeface="ヒラギノ角ゴ ProN W3"/>
                <a:cs typeface="Helvetica Neue"/>
              </a:rPr>
              <a:t>Running </a:t>
            </a:r>
            <a:r>
              <a:rPr lang="fr-FR" sz="2000" dirty="0" err="1">
                <a:solidFill>
                  <a:srgbClr val="404040"/>
                </a:solidFill>
                <a:latin typeface="Helvetica Neue"/>
                <a:ea typeface="ヒラギノ角ゴ ProN W3"/>
                <a:cs typeface="Helvetica Neue"/>
              </a:rPr>
              <a:t>OpenStack</a:t>
            </a:r>
            <a:r>
              <a:rPr lang="fr-FR" sz="2000" dirty="0">
                <a:solidFill>
                  <a:srgbClr val="404040"/>
                </a:solidFill>
                <a:latin typeface="Helvetica Neue"/>
                <a:ea typeface="ヒラギノ角ゴ ProN W3"/>
                <a:cs typeface="Helvetica Neue"/>
              </a:rPr>
              <a:t> Public </a:t>
            </a:r>
            <a:r>
              <a:rPr lang="fr-FR" sz="2000" dirty="0" err="1">
                <a:solidFill>
                  <a:srgbClr val="404040"/>
                </a:solidFill>
                <a:latin typeface="Helvetica Neue"/>
                <a:ea typeface="ヒラギノ角ゴ ProN W3"/>
                <a:cs typeface="Helvetica Neue"/>
              </a:rPr>
              <a:t>Clouds</a:t>
            </a:r>
            <a:r>
              <a:rPr lang="fr-FR" sz="2000" dirty="0">
                <a:solidFill>
                  <a:srgbClr val="404040"/>
                </a:solidFill>
                <a:latin typeface="Helvetica Neue"/>
                <a:ea typeface="ヒラギノ角ゴ ProN W3"/>
                <a:cs typeface="Helvetica Neue"/>
              </a:rPr>
              <a:t> in France &amp; Canada</a:t>
            </a:r>
            <a:endParaRPr sz="2000" dirty="0">
              <a:latin typeface="Helvetica Neue"/>
              <a:cs typeface="Helvetica Neue"/>
            </a:endParaRPr>
          </a:p>
          <a:p>
            <a:pPr marL="342900" indent="-342900">
              <a:lnSpc>
                <a:spcPct val="130000"/>
              </a:lnSpc>
              <a:buClr>
                <a:srgbClr val="800000"/>
              </a:buClr>
              <a:buFont typeface="Lucida Grande"/>
              <a:buChar char="‣"/>
            </a:pPr>
            <a:r>
              <a:rPr lang="fr-FR" sz="2000" dirty="0">
                <a:solidFill>
                  <a:srgbClr val="404040"/>
                </a:solidFill>
                <a:latin typeface="Helvetica Neue"/>
                <a:ea typeface="ヒラギノ角ゴ ProN W3"/>
                <a:cs typeface="Helvetica Neue"/>
              </a:rPr>
              <a:t>Design, </a:t>
            </a:r>
            <a:r>
              <a:rPr lang="fr-FR" sz="2000" dirty="0" err="1">
                <a:solidFill>
                  <a:srgbClr val="404040"/>
                </a:solidFill>
                <a:latin typeface="Helvetica Neue"/>
                <a:ea typeface="ヒラギノ角ゴ ProN W3"/>
                <a:cs typeface="Helvetica Neue"/>
              </a:rPr>
              <a:t>Build</a:t>
            </a:r>
            <a:r>
              <a:rPr lang="fr-FR" sz="2000" dirty="0">
                <a:solidFill>
                  <a:srgbClr val="404040"/>
                </a:solidFill>
                <a:latin typeface="Helvetica Neue"/>
                <a:ea typeface="ヒラギノ角ゴ ProN W3"/>
                <a:cs typeface="Helvetica Neue"/>
              </a:rPr>
              <a:t> &amp; Manage OpenStack </a:t>
            </a:r>
            <a:r>
              <a:rPr lang="fr-FR" sz="2000" dirty="0" err="1">
                <a:solidFill>
                  <a:srgbClr val="404040"/>
                </a:solidFill>
                <a:latin typeface="Helvetica Neue"/>
                <a:ea typeface="ヒラギノ角ゴ ProN W3"/>
                <a:cs typeface="Helvetica Neue"/>
              </a:rPr>
              <a:t>P</a:t>
            </a:r>
            <a:r>
              <a:rPr lang="fr-FR" sz="2000" dirty="0" err="1" smtClean="0">
                <a:solidFill>
                  <a:srgbClr val="404040"/>
                </a:solidFill>
                <a:latin typeface="Helvetica Neue"/>
                <a:ea typeface="ヒラギノ角ゴ ProN W3"/>
                <a:cs typeface="Helvetica Neue"/>
              </a:rPr>
              <a:t>rivate</a:t>
            </a:r>
            <a:r>
              <a:rPr lang="fr-FR" sz="2000" dirty="0" smtClean="0">
                <a:solidFill>
                  <a:srgbClr val="404040"/>
                </a:solidFill>
                <a:latin typeface="Helvetica Neue"/>
                <a:ea typeface="ヒラギノ角ゴ ProN W3"/>
                <a:cs typeface="Helvetica Neue"/>
              </a:rPr>
              <a:t> </a:t>
            </a:r>
            <a:r>
              <a:rPr lang="fr-FR" sz="2000" dirty="0" err="1" smtClean="0">
                <a:solidFill>
                  <a:srgbClr val="404040"/>
                </a:solidFill>
                <a:latin typeface="Helvetica Neue"/>
                <a:ea typeface="ヒラギノ角ゴ ProN W3"/>
                <a:cs typeface="Helvetica Neue"/>
              </a:rPr>
              <a:t>Clouds</a:t>
            </a:r>
            <a:endParaRPr sz="2000" dirty="0">
              <a:latin typeface="Helvetica Neue"/>
              <a:cs typeface="Helvetica Neue"/>
            </a:endParaRPr>
          </a:p>
          <a:p>
            <a:pPr marL="342900" indent="-342900">
              <a:lnSpc>
                <a:spcPct val="130000"/>
              </a:lnSpc>
              <a:buClr>
                <a:srgbClr val="800000"/>
              </a:buClr>
              <a:buFont typeface="Lucida Grande"/>
              <a:buChar char="‣"/>
            </a:pPr>
            <a:r>
              <a:rPr lang="fr-FR" sz="2000" dirty="0" err="1">
                <a:solidFill>
                  <a:srgbClr val="404040"/>
                </a:solidFill>
                <a:latin typeface="Helvetica Neue"/>
                <a:ea typeface="ヒラギノ角ゴ ProN W3"/>
                <a:cs typeface="Helvetica Neue"/>
              </a:rPr>
              <a:t>Provides</a:t>
            </a:r>
            <a:r>
              <a:rPr lang="fr-FR" sz="2000" dirty="0">
                <a:solidFill>
                  <a:srgbClr val="404040"/>
                </a:solidFill>
                <a:latin typeface="Helvetica Neue"/>
                <a:ea typeface="ヒラギノ角ゴ ProN W3"/>
                <a:cs typeface="Helvetica Neue"/>
              </a:rPr>
              <a:t> consulting &amp; </a:t>
            </a:r>
            <a:r>
              <a:rPr lang="fr-FR" sz="2000" dirty="0" smtClean="0">
                <a:solidFill>
                  <a:srgbClr val="404040"/>
                </a:solidFill>
                <a:latin typeface="Helvetica Neue"/>
                <a:ea typeface="ヒラギノ角ゴ ProN W3"/>
                <a:cs typeface="Helvetica Neue"/>
              </a:rPr>
              <a:t>training </a:t>
            </a:r>
            <a:r>
              <a:rPr lang="fr-FR" sz="2000" dirty="0" err="1">
                <a:solidFill>
                  <a:srgbClr val="404040"/>
                </a:solidFill>
                <a:latin typeface="Helvetica Neue"/>
                <a:ea typeface="ヒラギノ角ゴ ProN W3"/>
                <a:cs typeface="Helvetica Neue"/>
              </a:rPr>
              <a:t>around</a:t>
            </a:r>
            <a:r>
              <a:rPr lang="fr-FR" sz="2000" dirty="0">
                <a:solidFill>
                  <a:srgbClr val="404040"/>
                </a:solidFill>
                <a:latin typeface="Helvetica Neue"/>
                <a:ea typeface="ヒラギノ角ゴ ProN W3"/>
                <a:cs typeface="Helvetica Neue"/>
              </a:rPr>
              <a:t> OpenStack</a:t>
            </a:r>
            <a:endParaRPr sz="2000" dirty="0">
              <a:latin typeface="Helvetica Neue"/>
              <a:cs typeface="Helvetica Neue"/>
            </a:endParaRPr>
          </a:p>
          <a:p>
            <a:pPr marL="342900" indent="-342900">
              <a:lnSpc>
                <a:spcPct val="130000"/>
              </a:lnSpc>
              <a:buClr>
                <a:srgbClr val="800000"/>
              </a:buClr>
              <a:buFont typeface="Lucida Grande"/>
              <a:buChar char="‣"/>
            </a:pPr>
            <a:r>
              <a:rPr lang="fr-FR" sz="2000" dirty="0" err="1">
                <a:solidFill>
                  <a:srgbClr val="404040"/>
                </a:solidFill>
                <a:latin typeface="Helvetica Neue"/>
                <a:ea typeface="ヒラギノ角ゴ ProN W3"/>
                <a:cs typeface="Helvetica Neue"/>
              </a:rPr>
              <a:t>Headquartered</a:t>
            </a:r>
            <a:r>
              <a:rPr lang="fr-FR" sz="2000" dirty="0">
                <a:solidFill>
                  <a:srgbClr val="404040"/>
                </a:solidFill>
                <a:latin typeface="Helvetica Neue"/>
                <a:ea typeface="ヒラギノ角ゴ ProN W3"/>
                <a:cs typeface="Helvetica Neue"/>
              </a:rPr>
              <a:t> in Paris, France</a:t>
            </a:r>
            <a:endParaRPr sz="2000" dirty="0">
              <a:latin typeface="Helvetica Neue"/>
              <a:cs typeface="Helvetica Neue"/>
            </a:endParaRPr>
          </a:p>
        </p:txBody>
      </p:sp>
      <p:sp>
        <p:nvSpPr>
          <p:cNvPr id="39" name="CustomShape 5"/>
          <p:cNvSpPr/>
          <p:nvPr/>
        </p:nvSpPr>
        <p:spPr>
          <a:xfrm>
            <a:off x="1820880" y="8273880"/>
            <a:ext cx="3177720" cy="466200"/>
          </a:xfrm>
          <a:prstGeom prst="rect">
            <a:avLst/>
          </a:prstGeom>
        </p:spPr>
        <p:txBody>
          <a:bodyPr lIns="50760" tIns="50760" rIns="50760" bIns="50760"/>
          <a:lstStyle/>
          <a:p>
            <a:pPr>
              <a:lnSpc>
                <a:spcPct val="100000"/>
              </a:lnSpc>
            </a:pPr>
            <a:r>
              <a:rPr lang="fr-FR">
                <a:solidFill>
                  <a:srgbClr val="646464"/>
                </a:solidFill>
                <a:latin typeface="Helvetica Neue"/>
                <a:ea typeface="ヒラギノ角ゴ ProN W3"/>
              </a:rPr>
              <a:t>www.enovance.com</a:t>
            </a:r>
            <a:endParaRPr/>
          </a:p>
        </p:txBody>
      </p:sp>
      <p:sp>
        <p:nvSpPr>
          <p:cNvPr id="40" name="CustomShape 6"/>
          <p:cNvSpPr/>
          <p:nvPr/>
        </p:nvSpPr>
        <p:spPr>
          <a:xfrm>
            <a:off x="619200" y="2071454"/>
            <a:ext cx="11687400" cy="1369800"/>
          </a:xfrm>
          <a:prstGeom prst="rect">
            <a:avLst/>
          </a:prstGeom>
        </p:spPr>
        <p:txBody>
          <a:bodyPr lIns="90000" tIns="45000" rIns="90000" bIns="45000"/>
          <a:lstStyle/>
          <a:p>
            <a:pPr algn="just">
              <a:lnSpc>
                <a:spcPct val="100000"/>
              </a:lnSpc>
            </a:pPr>
            <a:r>
              <a:rPr lang="en-US" sz="2800" dirty="0">
                <a:solidFill>
                  <a:srgbClr val="FFFFFF"/>
                </a:solidFill>
                <a:latin typeface="Helvetica Neue"/>
              </a:rPr>
              <a:t>“We launched </a:t>
            </a:r>
            <a:r>
              <a:rPr lang="en-US" sz="2800" dirty="0" err="1">
                <a:solidFill>
                  <a:srgbClr val="FFFFFF"/>
                </a:solidFill>
                <a:latin typeface="Helvetica Neue"/>
              </a:rPr>
              <a:t>eNocloud</a:t>
            </a:r>
            <a:r>
              <a:rPr lang="en-US" sz="2800" dirty="0">
                <a:solidFill>
                  <a:srgbClr val="FFFFFF"/>
                </a:solidFill>
                <a:latin typeface="Helvetica Neue"/>
              </a:rPr>
              <a:t>: the 1st </a:t>
            </a:r>
            <a:r>
              <a:rPr lang="en-US" sz="2800" dirty="0" err="1">
                <a:solidFill>
                  <a:srgbClr val="FFFFFF"/>
                </a:solidFill>
                <a:latin typeface="Helvetica Neue"/>
              </a:rPr>
              <a:t>OpenStack</a:t>
            </a:r>
            <a:r>
              <a:rPr lang="en-US" sz="2800" dirty="0">
                <a:solidFill>
                  <a:srgbClr val="FFFFFF"/>
                </a:solidFill>
                <a:latin typeface="Helvetica Neue"/>
              </a:rPr>
              <a:t> Public Cloud in Europe. Our main goal was to have full control over infrastructures and hardware, ensure compatibility with other Public Clouds and deliver a high-performance </a:t>
            </a:r>
            <a:r>
              <a:rPr lang="en-US" sz="2800" dirty="0" smtClean="0">
                <a:solidFill>
                  <a:srgbClr val="FFFFFF"/>
                </a:solidFill>
                <a:latin typeface="Helvetica Neue"/>
              </a:rPr>
              <a:t>cloud.”</a:t>
            </a:r>
            <a:endParaRPr dirty="0"/>
          </a:p>
        </p:txBody>
      </p:sp>
      <p:sp>
        <p:nvSpPr>
          <p:cNvPr id="41" name="CustomShape 7"/>
          <p:cNvSpPr/>
          <p:nvPr/>
        </p:nvSpPr>
        <p:spPr>
          <a:xfrm>
            <a:off x="7277760" y="3613330"/>
            <a:ext cx="5052960" cy="674640"/>
          </a:xfrm>
          <a:prstGeom prst="rect">
            <a:avLst/>
          </a:prstGeom>
        </p:spPr>
        <p:txBody>
          <a:bodyPr lIns="90000" tIns="45000" rIns="90000" bIns="45000"/>
          <a:lstStyle/>
          <a:p>
            <a:pPr algn="r">
              <a:lnSpc>
                <a:spcPct val="90000"/>
              </a:lnSpc>
            </a:pPr>
            <a:r>
              <a:rPr lang="fr-FR" sz="2400" dirty="0">
                <a:solidFill>
                  <a:srgbClr val="000000"/>
                </a:solidFill>
                <a:latin typeface="Helvetica Neue"/>
              </a:rPr>
              <a:t>Raphaël Ferreira</a:t>
            </a:r>
            <a:endParaRPr dirty="0"/>
          </a:p>
          <a:p>
            <a:pPr algn="r">
              <a:lnSpc>
                <a:spcPct val="90000"/>
              </a:lnSpc>
            </a:pPr>
            <a:r>
              <a:rPr lang="fr-FR" sz="2400" dirty="0">
                <a:solidFill>
                  <a:srgbClr val="000000"/>
                </a:solidFill>
                <a:latin typeface="Helvetica Neue"/>
              </a:rPr>
              <a:t>CEO, </a:t>
            </a:r>
            <a:r>
              <a:rPr lang="fr-FR" sz="2400" dirty="0" err="1">
                <a:solidFill>
                  <a:srgbClr val="000000"/>
                </a:solidFill>
                <a:latin typeface="Helvetica Neue"/>
              </a:rPr>
              <a:t>eNovance</a:t>
            </a:r>
            <a:endParaRPr dirty="0"/>
          </a:p>
        </p:txBody>
      </p:sp>
      <p:pic>
        <p:nvPicPr>
          <p:cNvPr id="42" name="Picture 2"/>
          <p:cNvPicPr/>
          <p:nvPr/>
        </p:nvPicPr>
        <p:blipFill>
          <a:blip r:embed="rId3" cstate="print"/>
          <a:stretch>
            <a:fillRect/>
          </a:stretch>
        </p:blipFill>
        <p:spPr>
          <a:xfrm>
            <a:off x="736560" y="8186760"/>
            <a:ext cx="910800" cy="650520"/>
          </a:xfrm>
          <a:prstGeom prst="rect">
            <a:avLst/>
          </a:prstGeom>
        </p:spPr>
      </p:pic>
      <p:pic>
        <p:nvPicPr>
          <p:cNvPr id="43" name="Picture 42"/>
          <p:cNvPicPr/>
          <p:nvPr/>
        </p:nvPicPr>
        <p:blipFill>
          <a:blip r:embed="rId4" cstate="print"/>
          <a:stretch>
            <a:fillRect/>
          </a:stretch>
        </p:blipFill>
        <p:spPr>
          <a:xfrm>
            <a:off x="6038295" y="4968000"/>
            <a:ext cx="6020862" cy="1170056"/>
          </a:xfrm>
          <a:prstGeom prst="rect">
            <a:avLst/>
          </a:prstGeom>
        </p:spPr>
      </p:pic>
      <p:pic>
        <p:nvPicPr>
          <p:cNvPr id="13" name="Picture 12"/>
          <p:cNvPicPr>
            <a:picLocks noChangeAspect="1"/>
          </p:cNvPicPr>
          <p:nvPr/>
        </p:nvPicPr>
        <p:blipFill>
          <a:blip r:embed="rId5" cstate="print"/>
          <a:stretch>
            <a:fillRect/>
          </a:stretch>
        </p:blipFill>
        <p:spPr>
          <a:xfrm>
            <a:off x="736600" y="8879594"/>
            <a:ext cx="911599" cy="651142"/>
          </a:xfrm>
          <a:prstGeom prst="rect">
            <a:avLst/>
          </a:prstGeom>
        </p:spPr>
      </p:pic>
      <p:pic>
        <p:nvPicPr>
          <p:cNvPr id="2" name="Picture 1"/>
          <p:cNvPicPr>
            <a:picLocks noChangeAspect="1"/>
          </p:cNvPicPr>
          <p:nvPr/>
        </p:nvPicPr>
        <p:blipFill>
          <a:blip r:embed="rId6" cstate="print"/>
          <a:stretch>
            <a:fillRect/>
          </a:stretch>
        </p:blipFill>
        <p:spPr>
          <a:xfrm>
            <a:off x="178262" y="5228123"/>
            <a:ext cx="5367117" cy="2676325"/>
          </a:xfrm>
          <a:prstGeom prst="rect">
            <a:avLst/>
          </a:prstGeom>
        </p:spPr>
      </p:pic>
    </p:spTree>
  </p:cSld>
  <p:clrMapOvr>
    <a:masterClrMapping/>
  </p:clrMapOvr>
  <p:transition advClick="0" advTm="15000"/>
  <p:timing>
    <p:tnLst>
      <p:par>
        <p:cTn id="1" dur="indefinite" restart="never" nodeType="tmRoot">
          <p:childTnLst>
            <p:seq>
              <p:cTn id="2" nodeType="mainSeq"/>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a:xfrm>
            <a:off x="0" y="0"/>
            <a:ext cx="11765923" cy="1702795"/>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bg1">
                  <a:lumMod val="95000"/>
                </a:schemeClr>
              </a:solidFill>
            </a:endParaRPr>
          </a:p>
        </p:txBody>
      </p:sp>
      <p:sp>
        <p:nvSpPr>
          <p:cNvPr id="10" name="Rectangle 9"/>
          <p:cNvSpPr/>
          <p:nvPr/>
        </p:nvSpPr>
        <p:spPr>
          <a:xfrm>
            <a:off x="1" y="1752599"/>
            <a:ext cx="13003212" cy="2752725"/>
          </a:xfrm>
          <a:prstGeom prst="rect">
            <a:avLst/>
          </a:prstGeom>
          <a:solidFill>
            <a:srgbClr val="B6261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4" name="Picture 3" descr="openstack-cloud-software-horizontal-cmyk.png"/>
          <p:cNvPicPr>
            <a:picLocks noChangeAspect="1"/>
          </p:cNvPicPr>
          <p:nvPr/>
        </p:nvPicPr>
        <p:blipFill>
          <a:blip r:embed="rId2" cstate="print">
            <a:extLst>
              <a:ext uri="{28A0092B-C50C-407E-A947-70E740481C1C}">
                <a14:useLocalDpi xmlns="" xmlns:a14="http://schemas.microsoft.com/office/drawing/2010/main" val="0"/>
              </a:ext>
            </a:extLst>
          </a:blip>
          <a:stretch>
            <a:fillRect/>
          </a:stretch>
        </p:blipFill>
        <p:spPr>
          <a:xfrm>
            <a:off x="11859874" y="584451"/>
            <a:ext cx="943336" cy="867668"/>
          </a:xfrm>
          <a:prstGeom prst="rect">
            <a:avLst/>
          </a:prstGeom>
        </p:spPr>
      </p:pic>
      <p:sp>
        <p:nvSpPr>
          <p:cNvPr id="5" name="TextBox 4"/>
          <p:cNvSpPr txBox="1"/>
          <p:nvPr/>
        </p:nvSpPr>
        <p:spPr>
          <a:xfrm>
            <a:off x="653956" y="649801"/>
            <a:ext cx="10284288" cy="615553"/>
          </a:xfrm>
          <a:prstGeom prst="rect">
            <a:avLst/>
          </a:prstGeom>
          <a:noFill/>
        </p:spPr>
        <p:txBody>
          <a:bodyPr wrap="square" rtlCol="0">
            <a:spAutoFit/>
          </a:bodyPr>
          <a:lstStyle/>
          <a:p>
            <a:r>
              <a:rPr lang="en-US" sz="3400" b="1" dirty="0" err="1" smtClean="0">
                <a:solidFill>
                  <a:schemeClr val="tx1">
                    <a:lumMod val="75000"/>
                    <a:lumOff val="25000"/>
                  </a:schemeClr>
                </a:solidFill>
                <a:latin typeface="Helvetica Neue" charset="0"/>
              </a:rPr>
              <a:t>Cloudup</a:t>
            </a:r>
            <a:r>
              <a:rPr lang="en-US" sz="3400" b="1" dirty="0" smtClean="0">
                <a:solidFill>
                  <a:schemeClr val="tx1">
                    <a:lumMod val="75000"/>
                    <a:lumOff val="25000"/>
                  </a:schemeClr>
                </a:solidFill>
                <a:latin typeface="Helvetica Neue" charset="0"/>
              </a:rPr>
              <a:t> </a:t>
            </a:r>
            <a:r>
              <a:rPr lang="en-US" sz="3400" dirty="0" smtClean="0">
                <a:solidFill>
                  <a:schemeClr val="tx1">
                    <a:lumMod val="75000"/>
                    <a:lumOff val="25000"/>
                  </a:schemeClr>
                </a:solidFill>
                <a:latin typeface="Helvetica Neue" charset="0"/>
              </a:rPr>
              <a:t>uses </a:t>
            </a:r>
            <a:r>
              <a:rPr lang="en-US" sz="3400" dirty="0" err="1" smtClean="0">
                <a:solidFill>
                  <a:schemeClr val="tx1">
                    <a:lumMod val="75000"/>
                    <a:lumOff val="25000"/>
                  </a:schemeClr>
                </a:solidFill>
                <a:latin typeface="Helvetica Neue" charset="0"/>
              </a:rPr>
              <a:t>OpenStack</a:t>
            </a:r>
            <a:endParaRPr lang="en-US" sz="3400" dirty="0" smtClean="0">
              <a:solidFill>
                <a:schemeClr val="tx1">
                  <a:lumMod val="75000"/>
                  <a:lumOff val="25000"/>
                </a:schemeClr>
              </a:solidFill>
              <a:latin typeface="Helvetica Neue" charset="0"/>
            </a:endParaRPr>
          </a:p>
        </p:txBody>
      </p:sp>
      <p:sp>
        <p:nvSpPr>
          <p:cNvPr id="6" name="Text Box 2"/>
          <p:cNvSpPr txBox="1">
            <a:spLocks noChangeArrowheads="1"/>
          </p:cNvSpPr>
          <p:nvPr/>
        </p:nvSpPr>
        <p:spPr bwMode="auto">
          <a:xfrm>
            <a:off x="5900932" y="6229542"/>
            <a:ext cx="6676721" cy="3217037"/>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808080"/>
                </a:solidFill>
                <a:round/>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lIns="50760" tIns="50760" rIns="50760" bIns="50760"/>
          <a:lstStyle>
            <a:lvl1pPr marL="315913" indent="-315913">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1pPr>
            <a:lvl2pPr>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2pPr>
            <a:lvl3pPr>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3pPr>
            <a:lvl4pPr>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4pPr>
            <a:lvl5pPr>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5pPr>
            <a:lvl6pPr marL="2514600" indent="-228600" algn="ctr" fontAlgn="base">
              <a:spcBef>
                <a:spcPct val="0"/>
              </a:spcBef>
              <a:spcAft>
                <a:spcPct val="0"/>
              </a:spcAft>
              <a:buClr>
                <a:srgbClr val="000000"/>
              </a:buClr>
              <a:buSzPct val="100000"/>
              <a:buFont typeface="Times New Roman" charset="0"/>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6pPr>
            <a:lvl7pPr marL="2971800" indent="-228600" algn="ctr" fontAlgn="base">
              <a:spcBef>
                <a:spcPct val="0"/>
              </a:spcBef>
              <a:spcAft>
                <a:spcPct val="0"/>
              </a:spcAft>
              <a:buClr>
                <a:srgbClr val="000000"/>
              </a:buClr>
              <a:buSzPct val="100000"/>
              <a:buFont typeface="Times New Roman" charset="0"/>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7pPr>
            <a:lvl8pPr marL="3429000" indent="-228600" algn="ctr" fontAlgn="base">
              <a:spcBef>
                <a:spcPct val="0"/>
              </a:spcBef>
              <a:spcAft>
                <a:spcPct val="0"/>
              </a:spcAft>
              <a:buClr>
                <a:srgbClr val="000000"/>
              </a:buClr>
              <a:buSzPct val="100000"/>
              <a:buFont typeface="Times New Roman" charset="0"/>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8pPr>
            <a:lvl9pPr marL="3886200" indent="-228600" algn="ctr" fontAlgn="base">
              <a:spcBef>
                <a:spcPct val="0"/>
              </a:spcBef>
              <a:spcAft>
                <a:spcPct val="0"/>
              </a:spcAft>
              <a:buClr>
                <a:srgbClr val="000000"/>
              </a:buClr>
              <a:buSzPct val="100000"/>
              <a:buFont typeface="Times New Roman" charset="0"/>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9pPr>
          </a:lstStyle>
          <a:p>
            <a:pPr algn="l">
              <a:spcBef>
                <a:spcPts val="1200"/>
              </a:spcBef>
              <a:buClr>
                <a:srgbClr val="AF1C1C"/>
              </a:buClr>
              <a:buSzPct val="60000"/>
              <a:buFont typeface="Lucida Grande" charset="0"/>
              <a:buChar char="‣"/>
              <a:defRPr/>
            </a:pPr>
            <a:r>
              <a:rPr lang="en-US" sz="2000" dirty="0" smtClean="0">
                <a:solidFill>
                  <a:srgbClr val="404040"/>
                </a:solidFill>
                <a:latin typeface="Helvetica Neue" charset="0"/>
              </a:rPr>
              <a:t>1</a:t>
            </a:r>
            <a:r>
              <a:rPr lang="en-US" sz="2000" baseline="30000" dirty="0" smtClean="0">
                <a:solidFill>
                  <a:srgbClr val="404040"/>
                </a:solidFill>
                <a:latin typeface="Helvetica Neue" charset="0"/>
              </a:rPr>
              <a:t>st</a:t>
            </a:r>
            <a:r>
              <a:rPr lang="en-US" sz="2000" dirty="0" smtClean="0">
                <a:solidFill>
                  <a:srgbClr val="404040"/>
                </a:solidFill>
                <a:latin typeface="Helvetica Neue" charset="0"/>
              </a:rPr>
              <a:t> pay-by-the-minute Italian public cloud service</a:t>
            </a:r>
          </a:p>
          <a:p>
            <a:pPr algn="l">
              <a:spcBef>
                <a:spcPts val="1200"/>
              </a:spcBef>
              <a:buClr>
                <a:srgbClr val="AF1C1C"/>
              </a:buClr>
              <a:buSzPct val="60000"/>
              <a:buFont typeface="Lucida Grande" charset="0"/>
              <a:buChar char="‣"/>
              <a:defRPr/>
            </a:pPr>
            <a:r>
              <a:rPr lang="en-US" sz="2000" dirty="0" smtClean="0">
                <a:solidFill>
                  <a:srgbClr val="404040"/>
                </a:solidFill>
                <a:latin typeface="Helvetica Neue" charset="0"/>
              </a:rPr>
              <a:t>More than 4.000 subscriptions from launch in May 2012 up to now</a:t>
            </a:r>
          </a:p>
          <a:p>
            <a:pPr>
              <a:spcBef>
                <a:spcPts val="1200"/>
              </a:spcBef>
              <a:buClr>
                <a:srgbClr val="AF1C1C"/>
              </a:buClr>
              <a:buSzPct val="60000"/>
              <a:buFont typeface="Lucida Grande" charset="0"/>
              <a:buChar char="‣"/>
              <a:defRPr/>
            </a:pPr>
            <a:r>
              <a:rPr lang="en-US" sz="2000" dirty="0" smtClean="0">
                <a:solidFill>
                  <a:srgbClr val="404040"/>
                </a:solidFill>
                <a:latin typeface="Helvetica Neue" charset="0"/>
              </a:rPr>
              <a:t>Infrastructure’s growth</a:t>
            </a:r>
            <a:r>
              <a:rPr lang="en-US" sz="2000" dirty="0">
                <a:solidFill>
                  <a:srgbClr val="404040"/>
                </a:solidFill>
                <a:latin typeface="Helvetica Neue" charset="0"/>
              </a:rPr>
              <a:t>: </a:t>
            </a:r>
            <a:r>
              <a:rPr lang="en-US" sz="2000" dirty="0" smtClean="0">
                <a:solidFill>
                  <a:srgbClr val="404040"/>
                </a:solidFill>
                <a:latin typeface="Helvetica Neue" charset="0"/>
              </a:rPr>
              <a:t>from 4 </a:t>
            </a:r>
            <a:r>
              <a:rPr lang="en-US" sz="2000" dirty="0">
                <a:solidFill>
                  <a:srgbClr val="404040"/>
                </a:solidFill>
                <a:latin typeface="Helvetica Neue" charset="0"/>
              </a:rPr>
              <a:t>nodes </a:t>
            </a:r>
            <a:r>
              <a:rPr lang="en-US" sz="2000" dirty="0" smtClean="0">
                <a:solidFill>
                  <a:srgbClr val="404040"/>
                </a:solidFill>
                <a:latin typeface="Helvetica Neue" charset="0"/>
              </a:rPr>
              <a:t>to </a:t>
            </a:r>
            <a:r>
              <a:rPr lang="en-US" sz="2000" dirty="0">
                <a:solidFill>
                  <a:srgbClr val="404040"/>
                </a:solidFill>
                <a:latin typeface="Helvetica Neue" charset="0"/>
              </a:rPr>
              <a:t>more than 20 nodes in less than a </a:t>
            </a:r>
            <a:r>
              <a:rPr lang="en-US" sz="2000" dirty="0" smtClean="0">
                <a:solidFill>
                  <a:srgbClr val="404040"/>
                </a:solidFill>
                <a:latin typeface="Helvetica Neue" charset="0"/>
              </a:rPr>
              <a:t>year</a:t>
            </a:r>
          </a:p>
          <a:p>
            <a:pPr>
              <a:spcBef>
                <a:spcPts val="1200"/>
              </a:spcBef>
              <a:buClr>
                <a:srgbClr val="AF1C1C"/>
              </a:buClr>
              <a:buSzPct val="60000"/>
              <a:buFont typeface="Lucida Grande" charset="0"/>
              <a:buChar char="‣"/>
              <a:defRPr/>
            </a:pPr>
            <a:r>
              <a:rPr lang="en-US" sz="2000" dirty="0" smtClean="0">
                <a:solidFill>
                  <a:srgbClr val="404040"/>
                </a:solidFill>
                <a:latin typeface="Helvetica Neue" charset="0"/>
              </a:rPr>
              <a:t>Datacenter </a:t>
            </a:r>
            <a:r>
              <a:rPr lang="en-US" sz="2000" dirty="0">
                <a:solidFill>
                  <a:srgbClr val="404040"/>
                </a:solidFill>
                <a:latin typeface="Helvetica Neue" charset="0"/>
              </a:rPr>
              <a:t>recently integrated into a 10 </a:t>
            </a:r>
            <a:r>
              <a:rPr lang="en-US" sz="2000" dirty="0" err="1">
                <a:solidFill>
                  <a:srgbClr val="404040"/>
                </a:solidFill>
                <a:latin typeface="Helvetica Neue" charset="0"/>
              </a:rPr>
              <a:t>GbE</a:t>
            </a:r>
            <a:r>
              <a:rPr lang="en-US" sz="2000" dirty="0">
                <a:solidFill>
                  <a:srgbClr val="404040"/>
                </a:solidFill>
                <a:latin typeface="Helvetica Neue" charset="0"/>
              </a:rPr>
              <a:t> ring linking European data centers in Amsterdam, Frankfurt, London and Paris </a:t>
            </a:r>
            <a:endParaRPr lang="en-US" sz="2000" dirty="0" smtClean="0">
              <a:solidFill>
                <a:srgbClr val="404040"/>
              </a:solidFill>
              <a:latin typeface="Helvetica Neue" charset="0"/>
            </a:endParaRPr>
          </a:p>
          <a:p>
            <a:pPr algn="l">
              <a:spcBef>
                <a:spcPts val="1200"/>
              </a:spcBef>
              <a:buClr>
                <a:srgbClr val="AF1C1C"/>
              </a:buClr>
              <a:buSzPct val="60000"/>
              <a:buFont typeface="Lucida Grande" charset="0"/>
              <a:buChar char="‣"/>
              <a:defRPr/>
            </a:pPr>
            <a:r>
              <a:rPr lang="en-US" sz="2000" dirty="0" smtClean="0">
                <a:solidFill>
                  <a:srgbClr val="404040"/>
                </a:solidFill>
                <a:latin typeface="Helvetica Neue" charset="0"/>
              </a:rPr>
              <a:t>Headquartered in Milano, Italy</a:t>
            </a:r>
          </a:p>
        </p:txBody>
      </p:sp>
      <p:sp>
        <p:nvSpPr>
          <p:cNvPr id="8" name="Text Box 2"/>
          <p:cNvSpPr txBox="1">
            <a:spLocks noChangeArrowheads="1"/>
          </p:cNvSpPr>
          <p:nvPr/>
        </p:nvSpPr>
        <p:spPr bwMode="auto">
          <a:xfrm>
            <a:off x="1820904" y="8274030"/>
            <a:ext cx="3178409" cy="466856"/>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808080"/>
                </a:solidFill>
                <a:round/>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lIns="50760" tIns="50760" rIns="50760" bIns="50760"/>
          <a:lstStyle>
            <a:lvl1pPr marL="315913" indent="-315913">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1pPr>
            <a:lvl2pPr>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2pPr>
            <a:lvl3pPr>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3pPr>
            <a:lvl4pPr>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4pPr>
            <a:lvl5pPr>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5pPr>
            <a:lvl6pPr marL="2514600" indent="-228600" algn="ctr" fontAlgn="base">
              <a:spcBef>
                <a:spcPct val="0"/>
              </a:spcBef>
              <a:spcAft>
                <a:spcPct val="0"/>
              </a:spcAft>
              <a:buClr>
                <a:srgbClr val="000000"/>
              </a:buClr>
              <a:buSzPct val="100000"/>
              <a:buFont typeface="Times New Roman" charset="0"/>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6pPr>
            <a:lvl7pPr marL="2971800" indent="-228600" algn="ctr" fontAlgn="base">
              <a:spcBef>
                <a:spcPct val="0"/>
              </a:spcBef>
              <a:spcAft>
                <a:spcPct val="0"/>
              </a:spcAft>
              <a:buClr>
                <a:srgbClr val="000000"/>
              </a:buClr>
              <a:buSzPct val="100000"/>
              <a:buFont typeface="Times New Roman" charset="0"/>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7pPr>
            <a:lvl8pPr marL="3429000" indent="-228600" algn="ctr" fontAlgn="base">
              <a:spcBef>
                <a:spcPct val="0"/>
              </a:spcBef>
              <a:spcAft>
                <a:spcPct val="0"/>
              </a:spcAft>
              <a:buClr>
                <a:srgbClr val="000000"/>
              </a:buClr>
              <a:buSzPct val="100000"/>
              <a:buFont typeface="Times New Roman" charset="0"/>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8pPr>
            <a:lvl9pPr marL="3886200" indent="-228600" algn="ctr" fontAlgn="base">
              <a:spcBef>
                <a:spcPct val="0"/>
              </a:spcBef>
              <a:spcAft>
                <a:spcPct val="0"/>
              </a:spcAft>
              <a:buClr>
                <a:srgbClr val="000000"/>
              </a:buClr>
              <a:buSzPct val="100000"/>
              <a:buFont typeface="Times New Roman" charset="0"/>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9pPr>
          </a:lstStyle>
          <a:p>
            <a:pPr marL="0" indent="0">
              <a:spcBef>
                <a:spcPts val="1200"/>
              </a:spcBef>
              <a:buClr>
                <a:srgbClr val="AF1C1C"/>
              </a:buClr>
              <a:buSzPct val="60000"/>
              <a:defRPr/>
            </a:pPr>
            <a:r>
              <a:rPr lang="en-US" sz="1800" dirty="0" smtClean="0">
                <a:solidFill>
                  <a:srgbClr val="646464"/>
                </a:solidFill>
                <a:latin typeface="Helvetica Neue" charset="0"/>
              </a:rPr>
              <a:t>www.cloudup.it</a:t>
            </a:r>
          </a:p>
          <a:p>
            <a:pPr marL="0" indent="0">
              <a:spcBef>
                <a:spcPts val="1200"/>
              </a:spcBef>
              <a:buClr>
                <a:srgbClr val="AF1C1C"/>
              </a:buClr>
              <a:buSzPct val="60000"/>
              <a:defRPr/>
            </a:pPr>
            <a:r>
              <a:rPr lang="en-US" sz="1800" dirty="0" smtClean="0">
                <a:solidFill>
                  <a:srgbClr val="646464"/>
                </a:solidFill>
                <a:latin typeface="Helvetica Neue" charset="0"/>
              </a:rPr>
              <a:t>www.cloudup.it/cloud-server/index-en.php</a:t>
            </a:r>
          </a:p>
        </p:txBody>
      </p:sp>
      <p:sp>
        <p:nvSpPr>
          <p:cNvPr id="11" name="Rectangle 10"/>
          <p:cNvSpPr/>
          <p:nvPr/>
        </p:nvSpPr>
        <p:spPr>
          <a:xfrm>
            <a:off x="653956" y="2159692"/>
            <a:ext cx="11687963" cy="1384995"/>
          </a:xfrm>
          <a:prstGeom prst="rect">
            <a:avLst/>
          </a:prstGeom>
        </p:spPr>
        <p:txBody>
          <a:bodyPr wrap="square">
            <a:spAutoFit/>
          </a:bodyPr>
          <a:lstStyle/>
          <a:p>
            <a:pPr>
              <a:buClr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lang="en-US" sz="2800" dirty="0" smtClean="0">
                <a:solidFill>
                  <a:schemeClr val="bg1"/>
                </a:solidFill>
                <a:latin typeface="Helvetica Neue" charset="0"/>
              </a:rPr>
              <a:t>“We had a dream: being </a:t>
            </a:r>
            <a:r>
              <a:rPr lang="en-US" sz="2800" dirty="0">
                <a:solidFill>
                  <a:schemeClr val="bg1"/>
                </a:solidFill>
                <a:latin typeface="Helvetica Neue" charset="0"/>
              </a:rPr>
              <a:t>the first Italian cloud service provider to offer a true </a:t>
            </a:r>
            <a:r>
              <a:rPr lang="en-US" sz="2800" dirty="0" smtClean="0">
                <a:solidFill>
                  <a:schemeClr val="bg1"/>
                </a:solidFill>
                <a:latin typeface="Helvetica Neue" charset="0"/>
              </a:rPr>
              <a:t>on demand, scalable, pay</a:t>
            </a:r>
            <a:r>
              <a:rPr lang="en-US" sz="2800" dirty="0">
                <a:solidFill>
                  <a:schemeClr val="bg1"/>
                </a:solidFill>
                <a:latin typeface="Helvetica Neue" charset="0"/>
              </a:rPr>
              <a:t>-as-you go </a:t>
            </a:r>
            <a:r>
              <a:rPr lang="en-US" sz="2800" dirty="0" err="1" smtClean="0">
                <a:solidFill>
                  <a:schemeClr val="bg1"/>
                </a:solidFill>
                <a:latin typeface="Helvetica Neue" charset="0"/>
              </a:rPr>
              <a:t>IaaS</a:t>
            </a:r>
            <a:r>
              <a:rPr lang="en-US" sz="2800" dirty="0" smtClean="0">
                <a:solidFill>
                  <a:schemeClr val="bg1"/>
                </a:solidFill>
                <a:latin typeface="Helvetica Neue" charset="0"/>
              </a:rPr>
              <a:t> cloud service </a:t>
            </a:r>
            <a:r>
              <a:rPr lang="en-US" sz="2800" dirty="0">
                <a:solidFill>
                  <a:schemeClr val="bg1"/>
                </a:solidFill>
                <a:latin typeface="Helvetica Neue" charset="0"/>
              </a:rPr>
              <a:t>based on OpenStack's </a:t>
            </a:r>
            <a:r>
              <a:rPr lang="en-US" sz="2800" dirty="0" smtClean="0">
                <a:solidFill>
                  <a:schemeClr val="bg1"/>
                </a:solidFill>
                <a:latin typeface="Helvetica Neue" charset="0"/>
              </a:rPr>
              <a:t>open infrastructure</a:t>
            </a:r>
            <a:r>
              <a:rPr lang="en-US" sz="2800" i="1" dirty="0" smtClean="0">
                <a:solidFill>
                  <a:schemeClr val="bg1"/>
                </a:solidFill>
                <a:latin typeface="Helvetica Neue" charset="0"/>
              </a:rPr>
              <a:t>.</a:t>
            </a:r>
            <a:r>
              <a:rPr lang="en-US" sz="2800" dirty="0" smtClean="0">
                <a:solidFill>
                  <a:schemeClr val="bg1"/>
                </a:solidFill>
                <a:latin typeface="Helvetica Neue" charset="0"/>
              </a:rPr>
              <a:t>”</a:t>
            </a:r>
            <a:endParaRPr lang="en-US" sz="2800" dirty="0">
              <a:solidFill>
                <a:schemeClr val="bg1"/>
              </a:solidFill>
              <a:latin typeface="Helvetica Neue" charset="0"/>
            </a:endParaRPr>
          </a:p>
        </p:txBody>
      </p:sp>
      <p:sp>
        <p:nvSpPr>
          <p:cNvPr id="14" name="Rectangle 13"/>
          <p:cNvSpPr/>
          <p:nvPr/>
        </p:nvSpPr>
        <p:spPr>
          <a:xfrm>
            <a:off x="7277736" y="3521421"/>
            <a:ext cx="5053806" cy="695575"/>
          </a:xfrm>
          <a:prstGeom prst="rect">
            <a:avLst/>
          </a:prstGeom>
        </p:spPr>
        <p:txBody>
          <a:bodyPr wrap="square">
            <a:spAutoFit/>
          </a:bodyPr>
          <a:lstStyle/>
          <a:p>
            <a:pPr algn="r">
              <a:lnSpc>
                <a:spcPct val="80000"/>
              </a:lnSpc>
              <a:buClr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lang="en-US" sz="2400" dirty="0" smtClean="0">
                <a:latin typeface="Helvetica Neue" charset="0"/>
              </a:rPr>
              <a:t>Martina </a:t>
            </a:r>
            <a:r>
              <a:rPr lang="en-US" sz="2400" dirty="0" err="1" smtClean="0">
                <a:latin typeface="Helvetica Neue" charset="0"/>
              </a:rPr>
              <a:t>Casani</a:t>
            </a:r>
            <a:endParaRPr lang="en-US" sz="2400" dirty="0" smtClean="0">
              <a:latin typeface="Helvetica Neue" charset="0"/>
            </a:endParaRPr>
          </a:p>
          <a:p>
            <a:pPr algn="r">
              <a:lnSpc>
                <a:spcPct val="80000"/>
              </a:lnSpc>
              <a:buClr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lang="en-US" sz="2400" dirty="0" smtClean="0">
                <a:latin typeface="Helvetica Neue" charset="0"/>
              </a:rPr>
              <a:t>Marketing Manager at </a:t>
            </a:r>
            <a:r>
              <a:rPr lang="en-US" sz="2400" dirty="0" err="1" smtClean="0">
                <a:latin typeface="Helvetica Neue" charset="0"/>
              </a:rPr>
              <a:t>Cloudup</a:t>
            </a:r>
            <a:endParaRPr lang="en-US" sz="2400" dirty="0">
              <a:latin typeface="Helvetica Neue" charset="0"/>
            </a:endParaRPr>
          </a:p>
        </p:txBody>
      </p:sp>
      <p:pic>
        <p:nvPicPr>
          <p:cNvPr id="16" name="Picture 15"/>
          <p:cNvPicPr>
            <a:picLocks noChangeAspect="1"/>
          </p:cNvPicPr>
          <p:nvPr/>
        </p:nvPicPr>
        <p:blipFill>
          <a:blip r:embed="rId3" cstate="print"/>
          <a:stretch>
            <a:fillRect/>
          </a:stretch>
        </p:blipFill>
        <p:spPr>
          <a:xfrm>
            <a:off x="736599" y="8186738"/>
            <a:ext cx="911599" cy="651142"/>
          </a:xfrm>
          <a:prstGeom prst="rect">
            <a:avLst/>
          </a:prstGeom>
        </p:spPr>
      </p:pic>
      <p:pic>
        <p:nvPicPr>
          <p:cNvPr id="2" name="Immagine 1" descr="cloudup_vettoriale.jpg"/>
          <p:cNvPicPr>
            <a:picLocks noChangeAspect="1"/>
          </p:cNvPicPr>
          <p:nvPr/>
        </p:nvPicPr>
        <p:blipFill>
          <a:blip r:embed="rId4" cstate="print">
            <a:extLst>
              <a:ext uri="{28A0092B-C50C-407E-A947-70E740481C1C}">
                <a14:useLocalDpi xmlns="" xmlns:a14="http://schemas.microsoft.com/office/drawing/2010/main" val="0"/>
              </a:ext>
            </a:extLst>
          </a:blip>
          <a:stretch>
            <a:fillRect/>
          </a:stretch>
        </p:blipFill>
        <p:spPr>
          <a:xfrm>
            <a:off x="8025640" y="4507270"/>
            <a:ext cx="2629617" cy="1682198"/>
          </a:xfrm>
          <a:prstGeom prst="rect">
            <a:avLst/>
          </a:prstGeom>
        </p:spPr>
      </p:pic>
      <p:pic>
        <p:nvPicPr>
          <p:cNvPr id="3" name="Immagine 2" descr="P3063585.JPG"/>
          <p:cNvPicPr>
            <a:picLocks noChangeAspect="1"/>
          </p:cNvPicPr>
          <p:nvPr/>
        </p:nvPicPr>
        <p:blipFill>
          <a:blip r:embed="rId5" cstate="print">
            <a:extLst>
              <a:ext uri="{28A0092B-C50C-407E-A947-70E740481C1C}">
                <a14:useLocalDpi xmlns="" xmlns:a14="http://schemas.microsoft.com/office/drawing/2010/main" val="0"/>
              </a:ext>
            </a:extLst>
          </a:blip>
          <a:stretch>
            <a:fillRect/>
          </a:stretch>
        </p:blipFill>
        <p:spPr>
          <a:xfrm>
            <a:off x="734356" y="4986863"/>
            <a:ext cx="5034089" cy="2836669"/>
          </a:xfrm>
          <a:prstGeom prst="rect">
            <a:avLst/>
          </a:prstGeom>
        </p:spPr>
      </p:pic>
    </p:spTree>
    <p:extLst>
      <p:ext uri="{BB962C8B-B14F-4D97-AF65-F5344CB8AC3E}">
        <p14:creationId xmlns="" xmlns:p14="http://schemas.microsoft.com/office/powerpoint/2010/main" val="3938446074"/>
      </p:ext>
    </p:extLst>
  </p:cSld>
  <p:clrMapOvr>
    <a:masterClrMapping/>
  </p:clrMapOvr>
  <p:transition advClick="0" advTm="15000"/>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a:xfrm>
            <a:off x="0" y="0"/>
            <a:ext cx="11765923" cy="1702795"/>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bg1">
                  <a:lumMod val="95000"/>
                </a:schemeClr>
              </a:solidFill>
            </a:endParaRPr>
          </a:p>
        </p:txBody>
      </p:sp>
      <p:sp>
        <p:nvSpPr>
          <p:cNvPr id="10" name="Rectangle 9"/>
          <p:cNvSpPr/>
          <p:nvPr/>
        </p:nvSpPr>
        <p:spPr>
          <a:xfrm>
            <a:off x="1" y="1752599"/>
            <a:ext cx="13003212" cy="2464397"/>
          </a:xfrm>
          <a:prstGeom prst="rect">
            <a:avLst/>
          </a:prstGeom>
          <a:solidFill>
            <a:srgbClr val="B6261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4" name="Picture 3" descr="openstack-cloud-software-horizontal-cmyk.png"/>
          <p:cNvPicPr>
            <a:picLocks noChangeAspect="1"/>
          </p:cNvPicPr>
          <p:nvPr/>
        </p:nvPicPr>
        <p:blipFill>
          <a:blip r:embed="rId2" cstate="print">
            <a:extLst>
              <a:ext uri="{28A0092B-C50C-407E-A947-70E740481C1C}">
                <a14:useLocalDpi xmlns="" xmlns:a14="http://schemas.microsoft.com/office/drawing/2010/main" val="0"/>
              </a:ext>
            </a:extLst>
          </a:blip>
          <a:stretch>
            <a:fillRect/>
          </a:stretch>
        </p:blipFill>
        <p:spPr>
          <a:xfrm>
            <a:off x="11859874" y="584451"/>
            <a:ext cx="943336" cy="867668"/>
          </a:xfrm>
          <a:prstGeom prst="rect">
            <a:avLst/>
          </a:prstGeom>
        </p:spPr>
      </p:pic>
      <p:sp>
        <p:nvSpPr>
          <p:cNvPr id="5" name="TextBox 4"/>
          <p:cNvSpPr txBox="1"/>
          <p:nvPr/>
        </p:nvSpPr>
        <p:spPr>
          <a:xfrm>
            <a:off x="653956" y="649801"/>
            <a:ext cx="10866270" cy="615553"/>
          </a:xfrm>
          <a:prstGeom prst="rect">
            <a:avLst/>
          </a:prstGeom>
          <a:noFill/>
        </p:spPr>
        <p:txBody>
          <a:bodyPr wrap="square" rtlCol="0">
            <a:spAutoFit/>
          </a:bodyPr>
          <a:lstStyle/>
          <a:p>
            <a:r>
              <a:rPr lang="en-US" sz="3400" b="1" dirty="0" smtClean="0">
                <a:solidFill>
                  <a:schemeClr val="tx1">
                    <a:lumMod val="75000"/>
                    <a:lumOff val="25000"/>
                  </a:schemeClr>
                </a:solidFill>
                <a:latin typeface="Helvetica Neue" charset="0"/>
              </a:rPr>
              <a:t>Cloudwatt </a:t>
            </a:r>
            <a:r>
              <a:rPr lang="en-US" sz="3400" dirty="0" smtClean="0">
                <a:solidFill>
                  <a:schemeClr val="tx1">
                    <a:lumMod val="75000"/>
                    <a:lumOff val="25000"/>
                  </a:schemeClr>
                </a:solidFill>
                <a:latin typeface="Helvetica Neue" charset="0"/>
              </a:rPr>
              <a:t>uses OpenStack</a:t>
            </a:r>
          </a:p>
        </p:txBody>
      </p:sp>
      <p:sp>
        <p:nvSpPr>
          <p:cNvPr id="6" name="Text Box 2"/>
          <p:cNvSpPr txBox="1">
            <a:spLocks noChangeArrowheads="1"/>
          </p:cNvSpPr>
          <p:nvPr/>
        </p:nvSpPr>
        <p:spPr bwMode="auto">
          <a:xfrm>
            <a:off x="6005526" y="6335061"/>
            <a:ext cx="6902278" cy="3160234"/>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808080"/>
                </a:solidFill>
                <a:round/>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lIns="50760" tIns="50760" rIns="50760" bIns="50760"/>
          <a:lstStyle>
            <a:lvl1pPr marL="315913" indent="-315913">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1pPr>
            <a:lvl2pPr>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2pPr>
            <a:lvl3pPr>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3pPr>
            <a:lvl4pPr>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4pPr>
            <a:lvl5pPr>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5pPr>
            <a:lvl6pPr marL="2514600" indent="-228600" algn="ctr" fontAlgn="base">
              <a:spcBef>
                <a:spcPct val="0"/>
              </a:spcBef>
              <a:spcAft>
                <a:spcPct val="0"/>
              </a:spcAft>
              <a:buClr>
                <a:srgbClr val="000000"/>
              </a:buClr>
              <a:buSzPct val="100000"/>
              <a:buFont typeface="Times New Roman" charset="0"/>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6pPr>
            <a:lvl7pPr marL="2971800" indent="-228600" algn="ctr" fontAlgn="base">
              <a:spcBef>
                <a:spcPct val="0"/>
              </a:spcBef>
              <a:spcAft>
                <a:spcPct val="0"/>
              </a:spcAft>
              <a:buClr>
                <a:srgbClr val="000000"/>
              </a:buClr>
              <a:buSzPct val="100000"/>
              <a:buFont typeface="Times New Roman" charset="0"/>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7pPr>
            <a:lvl8pPr marL="3429000" indent="-228600" algn="ctr" fontAlgn="base">
              <a:spcBef>
                <a:spcPct val="0"/>
              </a:spcBef>
              <a:spcAft>
                <a:spcPct val="0"/>
              </a:spcAft>
              <a:buClr>
                <a:srgbClr val="000000"/>
              </a:buClr>
              <a:buSzPct val="100000"/>
              <a:buFont typeface="Times New Roman" charset="0"/>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8pPr>
            <a:lvl9pPr marL="3886200" indent="-228600" algn="ctr" fontAlgn="base">
              <a:spcBef>
                <a:spcPct val="0"/>
              </a:spcBef>
              <a:spcAft>
                <a:spcPct val="0"/>
              </a:spcAft>
              <a:buClr>
                <a:srgbClr val="000000"/>
              </a:buClr>
              <a:buSzPct val="100000"/>
              <a:buFont typeface="Times New Roman" charset="0"/>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9pPr>
          </a:lstStyle>
          <a:p>
            <a:pPr algn="l">
              <a:spcBef>
                <a:spcPts val="1200"/>
              </a:spcBef>
              <a:buClr>
                <a:srgbClr val="AF1C1C"/>
              </a:buClr>
              <a:buSzPct val="60000"/>
              <a:buFont typeface="Lucida Grande" charset="0"/>
              <a:buChar char="‣"/>
              <a:defRPr/>
            </a:pPr>
            <a:r>
              <a:rPr lang="en-US" sz="2000" dirty="0" smtClean="0">
                <a:solidFill>
                  <a:srgbClr val="404040"/>
                </a:solidFill>
                <a:latin typeface="Helvetica Neue" charset="0"/>
              </a:rPr>
              <a:t>Target is to become among Cloud Provider leaders in Europe</a:t>
            </a:r>
          </a:p>
          <a:p>
            <a:pPr algn="l">
              <a:spcBef>
                <a:spcPts val="1200"/>
              </a:spcBef>
              <a:buClr>
                <a:srgbClr val="AF1C1C"/>
              </a:buClr>
              <a:buSzPct val="60000"/>
              <a:buFont typeface="Lucida Grande" charset="0"/>
              <a:buChar char="‣"/>
              <a:defRPr/>
            </a:pPr>
            <a:r>
              <a:rPr lang="en-US" sz="2000" dirty="0" smtClean="0">
                <a:solidFill>
                  <a:srgbClr val="404040"/>
                </a:solidFill>
                <a:latin typeface="Helvetica Neue" charset="0"/>
              </a:rPr>
              <a:t>Using OpenStack to propose Compute and Storage offers to all professional companies (10 million potential users) with distinctive and unique features</a:t>
            </a:r>
          </a:p>
          <a:p>
            <a:pPr algn="l">
              <a:spcBef>
                <a:spcPts val="1200"/>
              </a:spcBef>
              <a:buClr>
                <a:srgbClr val="AF1C1C"/>
              </a:buClr>
              <a:buSzPct val="60000"/>
              <a:buFont typeface="Lucida Grande" charset="0"/>
              <a:buChar char="‣"/>
              <a:defRPr/>
            </a:pPr>
            <a:r>
              <a:rPr lang="en-US" sz="2000" dirty="0" smtClean="0">
                <a:solidFill>
                  <a:srgbClr val="404040"/>
                </a:solidFill>
                <a:latin typeface="Helvetica Neue" charset="0"/>
              </a:rPr>
              <a:t>Extensive hiring in progress of 50 OpenStack developers to complement the 15 of </a:t>
            </a:r>
            <a:r>
              <a:rPr lang="en-US" sz="2000" dirty="0" err="1" smtClean="0">
                <a:solidFill>
                  <a:srgbClr val="404040"/>
                </a:solidFill>
                <a:latin typeface="Helvetica Neue" charset="0"/>
              </a:rPr>
              <a:t>eNovance</a:t>
            </a:r>
            <a:r>
              <a:rPr lang="en-US" sz="2000" dirty="0" smtClean="0">
                <a:solidFill>
                  <a:srgbClr val="404040"/>
                </a:solidFill>
                <a:latin typeface="Helvetica Neue" charset="0"/>
              </a:rPr>
              <a:t> (OpenStack partner)</a:t>
            </a:r>
          </a:p>
          <a:p>
            <a:pPr algn="l">
              <a:spcBef>
                <a:spcPts val="1200"/>
              </a:spcBef>
              <a:buClr>
                <a:srgbClr val="AF1C1C"/>
              </a:buClr>
              <a:buSzPct val="60000"/>
              <a:buFont typeface="Lucida Grande" charset="0"/>
              <a:buChar char="‣"/>
              <a:defRPr/>
            </a:pPr>
            <a:r>
              <a:rPr lang="en-US" sz="2000" dirty="0" smtClean="0">
                <a:solidFill>
                  <a:srgbClr val="404040"/>
                </a:solidFill>
                <a:latin typeface="Helvetica Neue" charset="0"/>
              </a:rPr>
              <a:t>Headquartered in Boulogne, Paris area, France</a:t>
            </a:r>
          </a:p>
        </p:txBody>
      </p:sp>
      <p:sp>
        <p:nvSpPr>
          <p:cNvPr id="8" name="Text Box 2"/>
          <p:cNvSpPr txBox="1">
            <a:spLocks noChangeArrowheads="1"/>
          </p:cNvSpPr>
          <p:nvPr/>
        </p:nvSpPr>
        <p:spPr bwMode="auto">
          <a:xfrm>
            <a:off x="1738261" y="9065913"/>
            <a:ext cx="3178409" cy="466856"/>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808080"/>
                </a:solidFill>
                <a:round/>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lIns="50760" tIns="50760" rIns="50760" bIns="50760"/>
          <a:lstStyle>
            <a:lvl1pPr marL="315913" indent="-315913">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1pPr>
            <a:lvl2pPr>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2pPr>
            <a:lvl3pPr>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3pPr>
            <a:lvl4pPr>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4pPr>
            <a:lvl5pPr>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5pPr>
            <a:lvl6pPr marL="2514600" indent="-228600" algn="ctr" fontAlgn="base">
              <a:spcBef>
                <a:spcPct val="0"/>
              </a:spcBef>
              <a:spcAft>
                <a:spcPct val="0"/>
              </a:spcAft>
              <a:buClr>
                <a:srgbClr val="000000"/>
              </a:buClr>
              <a:buSzPct val="100000"/>
              <a:buFont typeface="Times New Roman" charset="0"/>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6pPr>
            <a:lvl7pPr marL="2971800" indent="-228600" algn="ctr" fontAlgn="base">
              <a:spcBef>
                <a:spcPct val="0"/>
              </a:spcBef>
              <a:spcAft>
                <a:spcPct val="0"/>
              </a:spcAft>
              <a:buClr>
                <a:srgbClr val="000000"/>
              </a:buClr>
              <a:buSzPct val="100000"/>
              <a:buFont typeface="Times New Roman" charset="0"/>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7pPr>
            <a:lvl8pPr marL="3429000" indent="-228600" algn="ctr" fontAlgn="base">
              <a:spcBef>
                <a:spcPct val="0"/>
              </a:spcBef>
              <a:spcAft>
                <a:spcPct val="0"/>
              </a:spcAft>
              <a:buClr>
                <a:srgbClr val="000000"/>
              </a:buClr>
              <a:buSzPct val="100000"/>
              <a:buFont typeface="Times New Roman" charset="0"/>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8pPr>
            <a:lvl9pPr marL="3886200" indent="-228600" algn="ctr" fontAlgn="base">
              <a:spcBef>
                <a:spcPct val="0"/>
              </a:spcBef>
              <a:spcAft>
                <a:spcPct val="0"/>
              </a:spcAft>
              <a:buClr>
                <a:srgbClr val="000000"/>
              </a:buClr>
              <a:buSzPct val="100000"/>
              <a:buFont typeface="Times New Roman" charset="0"/>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9pPr>
          </a:lstStyle>
          <a:p>
            <a:pPr marL="0" indent="0">
              <a:spcBef>
                <a:spcPts val="1200"/>
              </a:spcBef>
              <a:buClr>
                <a:srgbClr val="AF1C1C"/>
              </a:buClr>
              <a:buSzPct val="60000"/>
              <a:defRPr/>
            </a:pPr>
            <a:r>
              <a:rPr lang="en-US" sz="1800" dirty="0" err="1" smtClean="0">
                <a:solidFill>
                  <a:srgbClr val="646464"/>
                </a:solidFill>
                <a:latin typeface="Helvetica Neue" charset="0"/>
              </a:rPr>
              <a:t>www.cloudwatt.com</a:t>
            </a:r>
            <a:endParaRPr lang="en-US" sz="1800" dirty="0" smtClean="0">
              <a:solidFill>
                <a:srgbClr val="646464"/>
              </a:solidFill>
              <a:latin typeface="Helvetica Neue" charset="0"/>
            </a:endParaRPr>
          </a:p>
        </p:txBody>
      </p:sp>
      <p:sp>
        <p:nvSpPr>
          <p:cNvPr id="11" name="Rectangle 10"/>
          <p:cNvSpPr/>
          <p:nvPr/>
        </p:nvSpPr>
        <p:spPr>
          <a:xfrm>
            <a:off x="653956" y="2159692"/>
            <a:ext cx="11687963" cy="1384995"/>
          </a:xfrm>
          <a:prstGeom prst="rect">
            <a:avLst/>
          </a:prstGeom>
        </p:spPr>
        <p:txBody>
          <a:bodyPr wrap="square">
            <a:spAutoFit/>
          </a:bodyPr>
          <a:lstStyle/>
          <a:p>
            <a:pPr>
              <a:buClr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lang="en-US" sz="2800" dirty="0" smtClean="0">
                <a:solidFill>
                  <a:schemeClr val="bg1"/>
                </a:solidFill>
                <a:latin typeface="Helvetica Neue" charset="0"/>
              </a:rPr>
              <a:t>“OpenStack emerges as the leading Cloud OS standard for next decennia. Comparison with DOS situation for emerging PCs in 1982 is obvious. Cloudwatt is willing to be part of this on-going new frontier.”</a:t>
            </a:r>
            <a:endParaRPr lang="en-US" sz="2800" dirty="0">
              <a:solidFill>
                <a:schemeClr val="bg1"/>
              </a:solidFill>
              <a:latin typeface="Helvetica Neue" charset="0"/>
            </a:endParaRPr>
          </a:p>
        </p:txBody>
      </p:sp>
      <p:sp>
        <p:nvSpPr>
          <p:cNvPr id="14" name="Rectangle 13"/>
          <p:cNvSpPr/>
          <p:nvPr/>
        </p:nvSpPr>
        <p:spPr>
          <a:xfrm>
            <a:off x="7456796" y="3521421"/>
            <a:ext cx="5053806" cy="695575"/>
          </a:xfrm>
          <a:prstGeom prst="rect">
            <a:avLst/>
          </a:prstGeom>
        </p:spPr>
        <p:txBody>
          <a:bodyPr wrap="square">
            <a:spAutoFit/>
          </a:bodyPr>
          <a:lstStyle/>
          <a:p>
            <a:pPr algn="r">
              <a:lnSpc>
                <a:spcPct val="80000"/>
              </a:lnSpc>
              <a:buClr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lang="en-US" sz="2400" dirty="0" smtClean="0">
                <a:latin typeface="Helvetica Neue" charset="0"/>
              </a:rPr>
              <a:t>Pierre Paperon</a:t>
            </a:r>
          </a:p>
          <a:p>
            <a:pPr algn="r">
              <a:lnSpc>
                <a:spcPct val="80000"/>
              </a:lnSpc>
              <a:buClr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lang="en-US" sz="2400" dirty="0" smtClean="0">
                <a:latin typeface="Helvetica Neue" charset="0"/>
              </a:rPr>
              <a:t>CSMO</a:t>
            </a:r>
            <a:endParaRPr lang="en-US" sz="2400" dirty="0">
              <a:latin typeface="Helvetica Neue" charset="0"/>
            </a:endParaRPr>
          </a:p>
        </p:txBody>
      </p:sp>
      <p:pic>
        <p:nvPicPr>
          <p:cNvPr id="3" name="Picture 2"/>
          <p:cNvPicPr>
            <a:picLocks noChangeAspect="1"/>
          </p:cNvPicPr>
          <p:nvPr/>
        </p:nvPicPr>
        <p:blipFill>
          <a:blip r:embed="rId3" cstate="print"/>
          <a:stretch>
            <a:fillRect/>
          </a:stretch>
        </p:blipFill>
        <p:spPr>
          <a:xfrm>
            <a:off x="653956" y="8978621"/>
            <a:ext cx="911599" cy="651142"/>
          </a:xfrm>
          <a:prstGeom prst="rect">
            <a:avLst/>
          </a:prstGeom>
        </p:spPr>
      </p:pic>
      <p:pic>
        <p:nvPicPr>
          <p:cNvPr id="2" name="Image 1" descr="Cloudatt_Logo_Couleurs.png"/>
          <p:cNvPicPr>
            <a:picLocks noChangeAspect="1"/>
          </p:cNvPicPr>
          <p:nvPr/>
        </p:nvPicPr>
        <p:blipFill>
          <a:blip r:embed="rId4" cstate="print">
            <a:extLst>
              <a:ext uri="{28A0092B-C50C-407E-A947-70E740481C1C}">
                <a14:useLocalDpi xmlns="" xmlns:a14="http://schemas.microsoft.com/office/drawing/2010/main" val="0"/>
              </a:ext>
            </a:extLst>
          </a:blip>
          <a:stretch>
            <a:fillRect/>
          </a:stretch>
        </p:blipFill>
        <p:spPr>
          <a:xfrm>
            <a:off x="7100786" y="4753612"/>
            <a:ext cx="4759088" cy="1297567"/>
          </a:xfrm>
          <a:prstGeom prst="rect">
            <a:avLst/>
          </a:prstGeom>
        </p:spPr>
      </p:pic>
      <p:pic>
        <p:nvPicPr>
          <p:cNvPr id="7" name="Image 6" descr="Cloudwatt - Teddy Riner.png"/>
          <p:cNvPicPr>
            <a:picLocks noChangeAspect="1"/>
          </p:cNvPicPr>
          <p:nvPr/>
        </p:nvPicPr>
        <p:blipFill>
          <a:blip r:embed="rId5" cstate="print">
            <a:extLst>
              <a:ext uri="{28A0092B-C50C-407E-A947-70E740481C1C}">
                <a14:useLocalDpi xmlns="" xmlns:a14="http://schemas.microsoft.com/office/drawing/2010/main" val="0"/>
              </a:ext>
            </a:extLst>
          </a:blip>
          <a:stretch>
            <a:fillRect/>
          </a:stretch>
        </p:blipFill>
        <p:spPr>
          <a:xfrm>
            <a:off x="653956" y="4318603"/>
            <a:ext cx="5113628" cy="4553096"/>
          </a:xfrm>
          <a:prstGeom prst="rect">
            <a:avLst/>
          </a:prstGeom>
        </p:spPr>
      </p:pic>
    </p:spTree>
    <p:extLst>
      <p:ext uri="{BB962C8B-B14F-4D97-AF65-F5344CB8AC3E}">
        <p14:creationId xmlns="" xmlns:p14="http://schemas.microsoft.com/office/powerpoint/2010/main" val="1924218184"/>
      </p:ext>
    </p:extLst>
  </p:cSld>
  <p:clrMapOvr>
    <a:masterClrMapping/>
  </p:clrMapOvr>
  <p:transition advClick="0" advTm="15000"/>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a:xfrm>
            <a:off x="0" y="0"/>
            <a:ext cx="11765923" cy="1702795"/>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bg1">
                  <a:lumMod val="95000"/>
                </a:schemeClr>
              </a:solidFill>
            </a:endParaRPr>
          </a:p>
        </p:txBody>
      </p:sp>
      <p:sp>
        <p:nvSpPr>
          <p:cNvPr id="10" name="Rectangle 9"/>
          <p:cNvSpPr/>
          <p:nvPr/>
        </p:nvSpPr>
        <p:spPr>
          <a:xfrm>
            <a:off x="1" y="1752599"/>
            <a:ext cx="13003212" cy="2752725"/>
          </a:xfrm>
          <a:prstGeom prst="rect">
            <a:avLst/>
          </a:prstGeom>
          <a:solidFill>
            <a:srgbClr val="B6261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4" name="Picture 3" descr="openstack-cloud-software-horizontal-cmyk.png"/>
          <p:cNvPicPr>
            <a:picLocks noChangeAspect="1"/>
          </p:cNvPicPr>
          <p:nvPr/>
        </p:nvPicPr>
        <p:blipFill>
          <a:blip r:embed="rId2" cstate="print">
            <a:extLst>
              <a:ext uri="{28A0092B-C50C-407E-A947-70E740481C1C}">
                <a14:useLocalDpi xmlns="" xmlns:a14="http://schemas.microsoft.com/office/drawing/2010/main" val="0"/>
              </a:ext>
            </a:extLst>
          </a:blip>
          <a:stretch>
            <a:fillRect/>
          </a:stretch>
        </p:blipFill>
        <p:spPr>
          <a:xfrm>
            <a:off x="11859874" y="584451"/>
            <a:ext cx="943336" cy="867668"/>
          </a:xfrm>
          <a:prstGeom prst="rect">
            <a:avLst/>
          </a:prstGeom>
        </p:spPr>
      </p:pic>
      <p:sp>
        <p:nvSpPr>
          <p:cNvPr id="5" name="TextBox 4"/>
          <p:cNvSpPr txBox="1"/>
          <p:nvPr/>
        </p:nvSpPr>
        <p:spPr>
          <a:xfrm>
            <a:off x="653956" y="649801"/>
            <a:ext cx="10284288" cy="707886"/>
          </a:xfrm>
          <a:prstGeom prst="rect">
            <a:avLst/>
          </a:prstGeom>
          <a:noFill/>
        </p:spPr>
        <p:txBody>
          <a:bodyPr wrap="square" rtlCol="0">
            <a:spAutoFit/>
          </a:bodyPr>
          <a:lstStyle/>
          <a:p>
            <a:r>
              <a:rPr lang="en-US" sz="4000" b="1" dirty="0" smtClean="0">
                <a:solidFill>
                  <a:schemeClr val="tx1">
                    <a:lumMod val="75000"/>
                    <a:lumOff val="25000"/>
                  </a:schemeClr>
                </a:solidFill>
                <a:latin typeface="Helvetica Neue" charset="0"/>
              </a:rPr>
              <a:t>DreamHost </a:t>
            </a:r>
            <a:r>
              <a:rPr lang="en-US" sz="4000" dirty="0" smtClean="0">
                <a:solidFill>
                  <a:schemeClr val="tx1">
                    <a:lumMod val="75000"/>
                    <a:lumOff val="25000"/>
                  </a:schemeClr>
                </a:solidFill>
                <a:latin typeface="Helvetica Neue" charset="0"/>
              </a:rPr>
              <a:t>uses </a:t>
            </a:r>
            <a:r>
              <a:rPr lang="en-US" sz="4000" dirty="0" err="1" smtClean="0">
                <a:solidFill>
                  <a:schemeClr val="tx1">
                    <a:lumMod val="75000"/>
                    <a:lumOff val="25000"/>
                  </a:schemeClr>
                </a:solidFill>
                <a:latin typeface="Helvetica Neue" charset="0"/>
              </a:rPr>
              <a:t>OpenStack</a:t>
            </a:r>
            <a:endParaRPr lang="en-US" sz="4000" dirty="0" smtClean="0">
              <a:solidFill>
                <a:schemeClr val="tx1">
                  <a:lumMod val="75000"/>
                  <a:lumOff val="25000"/>
                </a:schemeClr>
              </a:solidFill>
              <a:latin typeface="Helvetica Neue" charset="0"/>
            </a:endParaRPr>
          </a:p>
        </p:txBody>
      </p:sp>
      <p:sp>
        <p:nvSpPr>
          <p:cNvPr id="6" name="Text Box 2"/>
          <p:cNvSpPr txBox="1">
            <a:spLocks noChangeArrowheads="1"/>
          </p:cNvSpPr>
          <p:nvPr/>
        </p:nvSpPr>
        <p:spPr bwMode="auto">
          <a:xfrm>
            <a:off x="5900932" y="5849013"/>
            <a:ext cx="6676721" cy="3217037"/>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808080"/>
                </a:solidFill>
                <a:round/>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lIns="50760" tIns="50760" rIns="50760" bIns="50760"/>
          <a:lstStyle>
            <a:lvl1pPr marL="315913" indent="-315913">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1pPr>
            <a:lvl2pPr>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2pPr>
            <a:lvl3pPr>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3pPr>
            <a:lvl4pPr>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4pPr>
            <a:lvl5pPr>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5pPr>
            <a:lvl6pPr marL="2514600" indent="-228600" algn="ctr" fontAlgn="base">
              <a:spcBef>
                <a:spcPct val="0"/>
              </a:spcBef>
              <a:spcAft>
                <a:spcPct val="0"/>
              </a:spcAft>
              <a:buClr>
                <a:srgbClr val="000000"/>
              </a:buClr>
              <a:buSzPct val="100000"/>
              <a:buFont typeface="Times New Roman" charset="0"/>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6pPr>
            <a:lvl7pPr marL="2971800" indent="-228600" algn="ctr" fontAlgn="base">
              <a:spcBef>
                <a:spcPct val="0"/>
              </a:spcBef>
              <a:spcAft>
                <a:spcPct val="0"/>
              </a:spcAft>
              <a:buClr>
                <a:srgbClr val="000000"/>
              </a:buClr>
              <a:buSzPct val="100000"/>
              <a:buFont typeface="Times New Roman" charset="0"/>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7pPr>
            <a:lvl8pPr marL="3429000" indent="-228600" algn="ctr" fontAlgn="base">
              <a:spcBef>
                <a:spcPct val="0"/>
              </a:spcBef>
              <a:spcAft>
                <a:spcPct val="0"/>
              </a:spcAft>
              <a:buClr>
                <a:srgbClr val="000000"/>
              </a:buClr>
              <a:buSzPct val="100000"/>
              <a:buFont typeface="Times New Roman" charset="0"/>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8pPr>
            <a:lvl9pPr marL="3886200" indent="-228600" algn="ctr" fontAlgn="base">
              <a:spcBef>
                <a:spcPct val="0"/>
              </a:spcBef>
              <a:spcAft>
                <a:spcPct val="0"/>
              </a:spcAft>
              <a:buClr>
                <a:srgbClr val="000000"/>
              </a:buClr>
              <a:buSzPct val="100000"/>
              <a:buFont typeface="Times New Roman" charset="0"/>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9pPr>
          </a:lstStyle>
          <a:p>
            <a:pPr>
              <a:spcBef>
                <a:spcPts val="1200"/>
              </a:spcBef>
              <a:buClr>
                <a:srgbClr val="AF1C1C"/>
              </a:buClr>
              <a:buSzPct val="60000"/>
              <a:buFont typeface="Lucida Grande" charset="0"/>
              <a:buChar char="‣"/>
              <a:defRPr/>
            </a:pPr>
            <a:r>
              <a:rPr lang="en-US" sz="2000" dirty="0">
                <a:solidFill>
                  <a:srgbClr val="404040"/>
                </a:solidFill>
                <a:latin typeface="Helvetica Neue" charset="0"/>
              </a:rPr>
              <a:t>15 years expertise in engineering and deploying </a:t>
            </a:r>
            <a:r>
              <a:rPr lang="en-US" sz="2000" dirty="0" smtClean="0">
                <a:solidFill>
                  <a:srgbClr val="404040"/>
                </a:solidFill>
                <a:latin typeface="Helvetica Neue" charset="0"/>
              </a:rPr>
              <a:t>open source web infrastructure.</a:t>
            </a:r>
            <a:endParaRPr lang="en-US" sz="2000" dirty="0">
              <a:solidFill>
                <a:srgbClr val="404040"/>
              </a:solidFill>
              <a:latin typeface="Helvetica Neue" charset="0"/>
            </a:endParaRPr>
          </a:p>
          <a:p>
            <a:pPr algn="l">
              <a:spcBef>
                <a:spcPts val="1200"/>
              </a:spcBef>
              <a:buClr>
                <a:srgbClr val="AF1C1C"/>
              </a:buClr>
              <a:buSzPct val="60000"/>
              <a:buFont typeface="Lucida Grande" charset="0"/>
              <a:buChar char="‣"/>
              <a:defRPr/>
            </a:pPr>
            <a:r>
              <a:rPr lang="en-US" sz="2000" dirty="0" err="1" smtClean="0">
                <a:solidFill>
                  <a:srgbClr val="404040"/>
                </a:solidFill>
                <a:latin typeface="Helvetica Neue" charset="0"/>
              </a:rPr>
              <a:t>OpenStack</a:t>
            </a:r>
            <a:r>
              <a:rPr lang="en-US" sz="2000" dirty="0" smtClean="0">
                <a:solidFill>
                  <a:srgbClr val="404040"/>
                </a:solidFill>
                <a:latin typeface="Helvetica Neue" charset="0"/>
              </a:rPr>
              <a:t> founding member with a seat on the Board of Directors. Top 10 contributor of lines changed to “core” projects.</a:t>
            </a:r>
          </a:p>
          <a:p>
            <a:pPr algn="l">
              <a:spcBef>
                <a:spcPts val="1200"/>
              </a:spcBef>
              <a:buClr>
                <a:srgbClr val="AF1C1C"/>
              </a:buClr>
              <a:buSzPct val="60000"/>
              <a:buFont typeface="Lucida Grande" charset="0"/>
              <a:buChar char="‣"/>
              <a:defRPr/>
            </a:pPr>
            <a:r>
              <a:rPr lang="en-US" sz="2000" dirty="0" err="1" smtClean="0">
                <a:solidFill>
                  <a:srgbClr val="404040"/>
                </a:solidFill>
                <a:latin typeface="Helvetica Neue" charset="0"/>
              </a:rPr>
              <a:t>DreamCompute</a:t>
            </a:r>
            <a:r>
              <a:rPr lang="en-US" sz="2000" dirty="0" smtClean="0">
                <a:solidFill>
                  <a:srgbClr val="404040"/>
                </a:solidFill>
                <a:latin typeface="Helvetica Neue" charset="0"/>
              </a:rPr>
              <a:t> deploys KVM hypervisors, </a:t>
            </a:r>
            <a:r>
              <a:rPr lang="en-US" sz="2000" dirty="0" err="1" smtClean="0">
                <a:solidFill>
                  <a:srgbClr val="404040"/>
                </a:solidFill>
                <a:latin typeface="Helvetica Neue" charset="0"/>
              </a:rPr>
              <a:t>Ceph</a:t>
            </a:r>
            <a:r>
              <a:rPr lang="en-US" sz="2000" dirty="0" smtClean="0">
                <a:solidFill>
                  <a:srgbClr val="404040"/>
                </a:solidFill>
                <a:latin typeface="Helvetica Neue" charset="0"/>
              </a:rPr>
              <a:t> block storage integrated with Cinder, and delivered through Quantum as enhanced with </a:t>
            </a:r>
            <a:r>
              <a:rPr lang="en-US" sz="2000" dirty="0" err="1" smtClean="0">
                <a:solidFill>
                  <a:srgbClr val="404040"/>
                </a:solidFill>
                <a:latin typeface="Helvetica Neue" charset="0"/>
              </a:rPr>
              <a:t>DreamHost’s</a:t>
            </a:r>
            <a:r>
              <a:rPr lang="en-US" sz="2000" dirty="0" smtClean="0">
                <a:solidFill>
                  <a:srgbClr val="404040"/>
                </a:solidFill>
                <a:latin typeface="Helvetica Neue" charset="0"/>
              </a:rPr>
              <a:t> own </a:t>
            </a:r>
            <a:r>
              <a:rPr lang="en-US" sz="2000" dirty="0" err="1" smtClean="0">
                <a:solidFill>
                  <a:srgbClr val="404040"/>
                </a:solidFill>
                <a:latin typeface="Helvetica Neue" charset="0"/>
              </a:rPr>
              <a:t>Akanda</a:t>
            </a:r>
            <a:r>
              <a:rPr lang="en-US" sz="2000" dirty="0" smtClean="0">
                <a:solidFill>
                  <a:srgbClr val="404040"/>
                </a:solidFill>
                <a:latin typeface="Helvetica Neue" charset="0"/>
              </a:rPr>
              <a:t> layer 3 open source software.</a:t>
            </a:r>
          </a:p>
          <a:p>
            <a:pPr algn="l">
              <a:spcBef>
                <a:spcPts val="1200"/>
              </a:spcBef>
              <a:buClr>
                <a:srgbClr val="AF1C1C"/>
              </a:buClr>
              <a:buSzPct val="60000"/>
              <a:buFont typeface="Lucida Grande" charset="0"/>
              <a:buChar char="‣"/>
              <a:defRPr/>
            </a:pPr>
            <a:r>
              <a:rPr lang="en-US" sz="2000" dirty="0" smtClean="0">
                <a:solidFill>
                  <a:srgbClr val="404040"/>
                </a:solidFill>
                <a:latin typeface="Helvetica Neue" charset="0"/>
              </a:rPr>
              <a:t>Headquartered in Los Angeles, California.</a:t>
            </a:r>
          </a:p>
        </p:txBody>
      </p:sp>
      <p:pic>
        <p:nvPicPr>
          <p:cNvPr id="7" name="Picture 6"/>
          <p:cNvPicPr>
            <a:picLocks noChangeAspect="1"/>
          </p:cNvPicPr>
          <p:nvPr/>
        </p:nvPicPr>
        <p:blipFill>
          <a:blip r:embed="rId3" cstate="print"/>
          <a:stretch>
            <a:fillRect/>
          </a:stretch>
        </p:blipFill>
        <p:spPr>
          <a:xfrm>
            <a:off x="736600" y="8562070"/>
            <a:ext cx="911599" cy="651143"/>
          </a:xfrm>
          <a:prstGeom prst="rect">
            <a:avLst/>
          </a:prstGeom>
        </p:spPr>
      </p:pic>
      <p:sp>
        <p:nvSpPr>
          <p:cNvPr id="8" name="Text Box 2"/>
          <p:cNvSpPr txBox="1">
            <a:spLocks noChangeArrowheads="1"/>
          </p:cNvSpPr>
          <p:nvPr/>
        </p:nvSpPr>
        <p:spPr bwMode="auto">
          <a:xfrm>
            <a:off x="1820904" y="8746357"/>
            <a:ext cx="3178409" cy="466856"/>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808080"/>
                </a:solidFill>
                <a:round/>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lIns="50760" tIns="50760" rIns="50760" bIns="50760"/>
          <a:lstStyle>
            <a:lvl1pPr marL="315913" indent="-315913">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1pPr>
            <a:lvl2pPr>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2pPr>
            <a:lvl3pPr>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3pPr>
            <a:lvl4pPr>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4pPr>
            <a:lvl5pPr>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5pPr>
            <a:lvl6pPr marL="2514600" indent="-228600" algn="ctr" fontAlgn="base">
              <a:spcBef>
                <a:spcPct val="0"/>
              </a:spcBef>
              <a:spcAft>
                <a:spcPct val="0"/>
              </a:spcAft>
              <a:buClr>
                <a:srgbClr val="000000"/>
              </a:buClr>
              <a:buSzPct val="100000"/>
              <a:buFont typeface="Times New Roman" charset="0"/>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6pPr>
            <a:lvl7pPr marL="2971800" indent="-228600" algn="ctr" fontAlgn="base">
              <a:spcBef>
                <a:spcPct val="0"/>
              </a:spcBef>
              <a:spcAft>
                <a:spcPct val="0"/>
              </a:spcAft>
              <a:buClr>
                <a:srgbClr val="000000"/>
              </a:buClr>
              <a:buSzPct val="100000"/>
              <a:buFont typeface="Times New Roman" charset="0"/>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7pPr>
            <a:lvl8pPr marL="3429000" indent="-228600" algn="ctr" fontAlgn="base">
              <a:spcBef>
                <a:spcPct val="0"/>
              </a:spcBef>
              <a:spcAft>
                <a:spcPct val="0"/>
              </a:spcAft>
              <a:buClr>
                <a:srgbClr val="000000"/>
              </a:buClr>
              <a:buSzPct val="100000"/>
              <a:buFont typeface="Times New Roman" charset="0"/>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8pPr>
            <a:lvl9pPr marL="3886200" indent="-228600" algn="ctr" fontAlgn="base">
              <a:spcBef>
                <a:spcPct val="0"/>
              </a:spcBef>
              <a:spcAft>
                <a:spcPct val="0"/>
              </a:spcAft>
              <a:buClr>
                <a:srgbClr val="000000"/>
              </a:buClr>
              <a:buSzPct val="100000"/>
              <a:buFont typeface="Times New Roman" charset="0"/>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9pPr>
          </a:lstStyle>
          <a:p>
            <a:pPr marL="0" indent="0">
              <a:spcBef>
                <a:spcPts val="1200"/>
              </a:spcBef>
              <a:buClr>
                <a:srgbClr val="AF1C1C"/>
              </a:buClr>
              <a:buSzPct val="60000"/>
              <a:defRPr/>
            </a:pPr>
            <a:r>
              <a:rPr lang="en-US" sz="1800" dirty="0" smtClean="0">
                <a:solidFill>
                  <a:srgbClr val="646464"/>
                </a:solidFill>
                <a:latin typeface="Helvetica Neue" charset="0"/>
              </a:rPr>
              <a:t>www. </a:t>
            </a:r>
            <a:r>
              <a:rPr lang="en-US" sz="1800" dirty="0" err="1" smtClean="0">
                <a:solidFill>
                  <a:srgbClr val="646464"/>
                </a:solidFill>
                <a:latin typeface="Helvetica Neue" charset="0"/>
              </a:rPr>
              <a:t>dreamhost.com</a:t>
            </a:r>
            <a:endParaRPr lang="en-US" sz="1800" dirty="0" smtClean="0">
              <a:solidFill>
                <a:srgbClr val="646464"/>
              </a:solidFill>
              <a:latin typeface="Helvetica Neue" charset="0"/>
            </a:endParaRPr>
          </a:p>
        </p:txBody>
      </p:sp>
      <p:sp>
        <p:nvSpPr>
          <p:cNvPr id="11" name="Rectangle 10"/>
          <p:cNvSpPr/>
          <p:nvPr/>
        </p:nvSpPr>
        <p:spPr>
          <a:xfrm>
            <a:off x="653956" y="1894336"/>
            <a:ext cx="11687963" cy="1815882"/>
          </a:xfrm>
          <a:prstGeom prst="rect">
            <a:avLst/>
          </a:prstGeom>
        </p:spPr>
        <p:txBody>
          <a:bodyPr wrap="square">
            <a:spAutoFit/>
          </a:bodyPr>
          <a:lstStyle/>
          <a:p>
            <a:pPr>
              <a:buClr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lang="en-US" sz="2800" dirty="0">
                <a:solidFill>
                  <a:schemeClr val="bg1"/>
                </a:solidFill>
                <a:latin typeface="Helvetica Neue" charset="0"/>
              </a:rPr>
              <a:t>“With </a:t>
            </a:r>
            <a:r>
              <a:rPr lang="en-US" sz="2800" dirty="0" err="1">
                <a:solidFill>
                  <a:schemeClr val="bg1"/>
                </a:solidFill>
                <a:latin typeface="Helvetica Neue" charset="0"/>
              </a:rPr>
              <a:t>OpenStack</a:t>
            </a:r>
            <a:r>
              <a:rPr lang="en-US" sz="2800" dirty="0">
                <a:solidFill>
                  <a:schemeClr val="bg1"/>
                </a:solidFill>
                <a:latin typeface="Helvetica Neue" charset="0"/>
              </a:rPr>
              <a:t> virtual machine management, reliable and resilient </a:t>
            </a:r>
            <a:r>
              <a:rPr lang="en-US" sz="2800" dirty="0" err="1">
                <a:solidFill>
                  <a:schemeClr val="bg1"/>
                </a:solidFill>
                <a:latin typeface="Helvetica Neue" charset="0"/>
              </a:rPr>
              <a:t>Ceph</a:t>
            </a:r>
            <a:r>
              <a:rPr lang="en-US" sz="2800" dirty="0">
                <a:solidFill>
                  <a:schemeClr val="bg1"/>
                </a:solidFill>
                <a:latin typeface="Helvetica Neue" charset="0"/>
              </a:rPr>
              <a:t> block storage, and software-defined networking that truly isolates each instance in the infrastructure, </a:t>
            </a:r>
            <a:r>
              <a:rPr lang="en-US" sz="2800" dirty="0" err="1">
                <a:solidFill>
                  <a:schemeClr val="bg1"/>
                </a:solidFill>
                <a:latin typeface="Helvetica Neue" charset="0"/>
              </a:rPr>
              <a:t>DreamCompute</a:t>
            </a:r>
            <a:r>
              <a:rPr lang="en-US" sz="2800" dirty="0">
                <a:solidFill>
                  <a:schemeClr val="bg1"/>
                </a:solidFill>
                <a:latin typeface="Helvetica Neue" charset="0"/>
              </a:rPr>
              <a:t> sets a new standard for compute-as-a-service</a:t>
            </a:r>
            <a:r>
              <a:rPr lang="en-US" sz="2800" dirty="0" smtClean="0">
                <a:solidFill>
                  <a:schemeClr val="bg1"/>
                </a:solidFill>
                <a:latin typeface="Helvetica Neue" charset="0"/>
              </a:rPr>
              <a:t>.”</a:t>
            </a:r>
            <a:endParaRPr lang="en-US" sz="2800" dirty="0">
              <a:solidFill>
                <a:schemeClr val="bg1"/>
              </a:solidFill>
              <a:latin typeface="Helvetica Neue" charset="0"/>
            </a:endParaRPr>
          </a:p>
        </p:txBody>
      </p:sp>
      <p:sp>
        <p:nvSpPr>
          <p:cNvPr id="14" name="Rectangle 13"/>
          <p:cNvSpPr/>
          <p:nvPr/>
        </p:nvSpPr>
        <p:spPr>
          <a:xfrm>
            <a:off x="7277736" y="3521421"/>
            <a:ext cx="5053806" cy="695575"/>
          </a:xfrm>
          <a:prstGeom prst="rect">
            <a:avLst/>
          </a:prstGeom>
        </p:spPr>
        <p:txBody>
          <a:bodyPr wrap="square">
            <a:spAutoFit/>
          </a:bodyPr>
          <a:lstStyle/>
          <a:p>
            <a:pPr algn="r">
              <a:lnSpc>
                <a:spcPct val="80000"/>
              </a:lnSpc>
              <a:buClr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lang="en-US" sz="2400" dirty="0" smtClean="0">
                <a:latin typeface="Helvetica Neue" charset="0"/>
              </a:rPr>
              <a:t>Simon Anderson</a:t>
            </a:r>
          </a:p>
          <a:p>
            <a:pPr algn="r">
              <a:lnSpc>
                <a:spcPct val="80000"/>
              </a:lnSpc>
              <a:buClr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lang="en-US" sz="2400" dirty="0" smtClean="0">
                <a:latin typeface="Helvetica Neue" charset="0"/>
              </a:rPr>
              <a:t>CEO of DreamHost</a:t>
            </a:r>
            <a:endParaRPr lang="en-US" sz="2400" dirty="0">
              <a:latin typeface="Helvetica Neue" charset="0"/>
            </a:endParaRPr>
          </a:p>
        </p:txBody>
      </p:sp>
      <p:pic>
        <p:nvPicPr>
          <p:cNvPr id="13" name="Picture 3"/>
          <p:cNvPicPr>
            <a:picLocks noChangeAspect="1" noChangeArrowheads="1"/>
          </p:cNvPicPr>
          <p:nvPr/>
        </p:nvPicPr>
        <p:blipFill>
          <a:blip r:embed="rId4" cstate="print">
            <a:extLst>
              <a:ext uri="{28A0092B-C50C-407E-A947-70E740481C1C}">
                <a14:useLocalDpi xmlns="" xmlns:a14="http://schemas.microsoft.com/office/drawing/2010/main" val="0"/>
              </a:ext>
            </a:extLst>
          </a:blip>
          <a:srcRect/>
          <a:stretch>
            <a:fillRect/>
          </a:stretch>
        </p:blipFill>
        <p:spPr bwMode="auto">
          <a:xfrm>
            <a:off x="7512960" y="4986135"/>
            <a:ext cx="3082952" cy="6277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pic>
      <p:pic>
        <p:nvPicPr>
          <p:cNvPr id="2" name="Picture 1"/>
          <p:cNvPicPr>
            <a:picLocks noChangeAspect="1"/>
          </p:cNvPicPr>
          <p:nvPr/>
        </p:nvPicPr>
        <p:blipFill>
          <a:blip r:embed="rId5" cstate="print"/>
          <a:stretch>
            <a:fillRect/>
          </a:stretch>
        </p:blipFill>
        <p:spPr>
          <a:xfrm>
            <a:off x="736600" y="5021987"/>
            <a:ext cx="4515129" cy="3386347"/>
          </a:xfrm>
          <a:prstGeom prst="rect">
            <a:avLst/>
          </a:prstGeom>
        </p:spPr>
      </p:pic>
    </p:spTree>
    <p:extLst>
      <p:ext uri="{BB962C8B-B14F-4D97-AF65-F5344CB8AC3E}">
        <p14:creationId xmlns="" xmlns:p14="http://schemas.microsoft.com/office/powerpoint/2010/main" val="1880480028"/>
      </p:ext>
    </p:extLst>
  </p:cSld>
  <p:clrMapOvr>
    <a:masterClrMapping/>
  </p:clrMapOvr>
  <p:transition advClick="0" advTm="15000"/>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logo.pdf"/>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5704239" y="3753299"/>
            <a:ext cx="7208870" cy="5094154"/>
          </a:xfrm>
          <a:prstGeom prst="rect">
            <a:avLst/>
          </a:prstGeom>
        </p:spPr>
      </p:pic>
      <p:sp>
        <p:nvSpPr>
          <p:cNvPr id="19" name="Rectangle 18"/>
          <p:cNvSpPr/>
          <p:nvPr/>
        </p:nvSpPr>
        <p:spPr>
          <a:xfrm>
            <a:off x="0" y="0"/>
            <a:ext cx="11765923" cy="1702795"/>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bg1">
                  <a:lumMod val="95000"/>
                </a:schemeClr>
              </a:solidFill>
            </a:endParaRPr>
          </a:p>
        </p:txBody>
      </p:sp>
      <p:sp>
        <p:nvSpPr>
          <p:cNvPr id="10" name="Rectangle 9"/>
          <p:cNvSpPr/>
          <p:nvPr/>
        </p:nvSpPr>
        <p:spPr>
          <a:xfrm>
            <a:off x="1" y="1752599"/>
            <a:ext cx="13003212" cy="2752725"/>
          </a:xfrm>
          <a:prstGeom prst="rect">
            <a:avLst/>
          </a:prstGeom>
          <a:solidFill>
            <a:srgbClr val="B6261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4" name="Picture 3" descr="openstack-cloud-software-horizontal-cmyk.png"/>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11859874" y="584451"/>
            <a:ext cx="943336" cy="867668"/>
          </a:xfrm>
          <a:prstGeom prst="rect">
            <a:avLst/>
          </a:prstGeom>
        </p:spPr>
      </p:pic>
      <p:sp>
        <p:nvSpPr>
          <p:cNvPr id="5" name="TextBox 4"/>
          <p:cNvSpPr txBox="1"/>
          <p:nvPr/>
        </p:nvSpPr>
        <p:spPr>
          <a:xfrm>
            <a:off x="653956" y="649801"/>
            <a:ext cx="10284288" cy="615553"/>
          </a:xfrm>
          <a:prstGeom prst="rect">
            <a:avLst/>
          </a:prstGeom>
          <a:noFill/>
        </p:spPr>
        <p:txBody>
          <a:bodyPr wrap="square" rtlCol="0">
            <a:spAutoFit/>
          </a:bodyPr>
          <a:lstStyle/>
          <a:p>
            <a:r>
              <a:rPr lang="en-US" sz="3400" b="1" dirty="0" smtClean="0">
                <a:solidFill>
                  <a:schemeClr val="tx1">
                    <a:lumMod val="75000"/>
                    <a:lumOff val="25000"/>
                  </a:schemeClr>
                </a:solidFill>
                <a:latin typeface="Helvetica Neue" charset="0"/>
              </a:rPr>
              <a:t>VEXXHOST, Inc. </a:t>
            </a:r>
            <a:r>
              <a:rPr lang="en-US" sz="3400" dirty="0" smtClean="0">
                <a:solidFill>
                  <a:schemeClr val="tx1">
                    <a:lumMod val="75000"/>
                    <a:lumOff val="25000"/>
                  </a:schemeClr>
                </a:solidFill>
                <a:latin typeface="Helvetica Neue" charset="0"/>
              </a:rPr>
              <a:t>uses </a:t>
            </a:r>
            <a:r>
              <a:rPr lang="en-US" sz="3400" dirty="0" err="1" smtClean="0">
                <a:solidFill>
                  <a:schemeClr val="tx1">
                    <a:lumMod val="75000"/>
                    <a:lumOff val="25000"/>
                  </a:schemeClr>
                </a:solidFill>
                <a:latin typeface="Helvetica Neue" charset="0"/>
              </a:rPr>
              <a:t>OpenStack</a:t>
            </a:r>
            <a:endParaRPr lang="en-US" sz="3400" dirty="0" smtClean="0">
              <a:solidFill>
                <a:schemeClr val="tx1">
                  <a:lumMod val="75000"/>
                  <a:lumOff val="25000"/>
                </a:schemeClr>
              </a:solidFill>
              <a:latin typeface="Helvetica Neue" charset="0"/>
            </a:endParaRPr>
          </a:p>
        </p:txBody>
      </p:sp>
      <p:sp>
        <p:nvSpPr>
          <p:cNvPr id="6" name="Text Box 2"/>
          <p:cNvSpPr txBox="1">
            <a:spLocks noChangeArrowheads="1"/>
          </p:cNvSpPr>
          <p:nvPr/>
        </p:nvSpPr>
        <p:spPr bwMode="auto">
          <a:xfrm>
            <a:off x="5900932" y="6638491"/>
            <a:ext cx="6676721" cy="3217037"/>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808080"/>
                </a:solidFill>
                <a:round/>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50760" tIns="50760" rIns="50760" bIns="50760"/>
          <a:lstStyle>
            <a:lvl1pPr marL="315913" indent="-315913">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1pPr>
            <a:lvl2pPr>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2pPr>
            <a:lvl3pPr>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3pPr>
            <a:lvl4pPr>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4pPr>
            <a:lvl5pPr>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5pPr>
            <a:lvl6pPr marL="2514600" indent="-228600" algn="ctr" fontAlgn="base">
              <a:spcBef>
                <a:spcPct val="0"/>
              </a:spcBef>
              <a:spcAft>
                <a:spcPct val="0"/>
              </a:spcAft>
              <a:buClr>
                <a:srgbClr val="000000"/>
              </a:buClr>
              <a:buSzPct val="100000"/>
              <a:buFont typeface="Times New Roman" charset="0"/>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6pPr>
            <a:lvl7pPr marL="2971800" indent="-228600" algn="ctr" fontAlgn="base">
              <a:spcBef>
                <a:spcPct val="0"/>
              </a:spcBef>
              <a:spcAft>
                <a:spcPct val="0"/>
              </a:spcAft>
              <a:buClr>
                <a:srgbClr val="000000"/>
              </a:buClr>
              <a:buSzPct val="100000"/>
              <a:buFont typeface="Times New Roman" charset="0"/>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7pPr>
            <a:lvl8pPr marL="3429000" indent="-228600" algn="ctr" fontAlgn="base">
              <a:spcBef>
                <a:spcPct val="0"/>
              </a:spcBef>
              <a:spcAft>
                <a:spcPct val="0"/>
              </a:spcAft>
              <a:buClr>
                <a:srgbClr val="000000"/>
              </a:buClr>
              <a:buSzPct val="100000"/>
              <a:buFont typeface="Times New Roman" charset="0"/>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8pPr>
            <a:lvl9pPr marL="3886200" indent="-228600" algn="ctr" fontAlgn="base">
              <a:spcBef>
                <a:spcPct val="0"/>
              </a:spcBef>
              <a:spcAft>
                <a:spcPct val="0"/>
              </a:spcAft>
              <a:buClr>
                <a:srgbClr val="000000"/>
              </a:buClr>
              <a:buSzPct val="100000"/>
              <a:buFont typeface="Times New Roman" charset="0"/>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9pPr>
          </a:lstStyle>
          <a:p>
            <a:pPr algn="l">
              <a:spcBef>
                <a:spcPts val="1200"/>
              </a:spcBef>
              <a:buClr>
                <a:srgbClr val="AF1C1C"/>
              </a:buClr>
              <a:buSzPct val="60000"/>
              <a:buFont typeface="Lucida Grande" charset="0"/>
              <a:buChar char="‣"/>
              <a:defRPr/>
            </a:pPr>
            <a:r>
              <a:rPr lang="en-US" sz="2000" dirty="0" smtClean="0">
                <a:solidFill>
                  <a:srgbClr val="404040"/>
                </a:solidFill>
                <a:latin typeface="Helvetica Neue" charset="0"/>
              </a:rPr>
              <a:t>First Public OpenStack Cloud in Canada</a:t>
            </a:r>
          </a:p>
          <a:p>
            <a:pPr algn="l">
              <a:spcBef>
                <a:spcPts val="1200"/>
              </a:spcBef>
              <a:buClr>
                <a:srgbClr val="AF1C1C"/>
              </a:buClr>
              <a:buSzPct val="60000"/>
              <a:buFont typeface="Lucida Grande" charset="0"/>
              <a:buChar char="‣"/>
              <a:defRPr/>
            </a:pPr>
            <a:r>
              <a:rPr lang="en-US" sz="2000" dirty="0">
                <a:solidFill>
                  <a:srgbClr val="404040"/>
                </a:solidFill>
                <a:latin typeface="Helvetica Neue" charset="0"/>
              </a:rPr>
              <a:t>D</a:t>
            </a:r>
            <a:r>
              <a:rPr lang="en-US" sz="2000" dirty="0" smtClean="0">
                <a:solidFill>
                  <a:srgbClr val="404040"/>
                </a:solidFill>
                <a:latin typeface="Helvetica Neue" charset="0"/>
              </a:rPr>
              <a:t>eveloped </a:t>
            </a:r>
            <a:r>
              <a:rPr lang="en-US" sz="2000" dirty="0">
                <a:solidFill>
                  <a:srgbClr val="404040"/>
                </a:solidFill>
                <a:latin typeface="Helvetica Neue" charset="0"/>
              </a:rPr>
              <a:t>f</a:t>
            </a:r>
            <a:r>
              <a:rPr lang="en-US" sz="2000" dirty="0" smtClean="0">
                <a:solidFill>
                  <a:srgbClr val="404040"/>
                </a:solidFill>
                <a:latin typeface="Helvetica Neue" charset="0"/>
              </a:rPr>
              <a:t>ull OpenStack management </a:t>
            </a:r>
            <a:r>
              <a:rPr lang="en-US" sz="2000" dirty="0">
                <a:solidFill>
                  <a:srgbClr val="404040"/>
                </a:solidFill>
                <a:latin typeface="Helvetica Neue" charset="0"/>
              </a:rPr>
              <a:t>p</a:t>
            </a:r>
            <a:r>
              <a:rPr lang="en-US" sz="2000" dirty="0" smtClean="0">
                <a:solidFill>
                  <a:srgbClr val="404040"/>
                </a:solidFill>
                <a:latin typeface="Helvetica Neue" charset="0"/>
              </a:rPr>
              <a:t>ortal, featuring security groups, key pairs and full reports.</a:t>
            </a:r>
          </a:p>
          <a:p>
            <a:pPr algn="l">
              <a:spcBef>
                <a:spcPts val="1200"/>
              </a:spcBef>
              <a:buClr>
                <a:srgbClr val="AF1C1C"/>
              </a:buClr>
              <a:buSzPct val="60000"/>
              <a:buFont typeface="Lucida Grande" charset="0"/>
              <a:buChar char="‣"/>
              <a:defRPr/>
            </a:pPr>
            <a:r>
              <a:rPr lang="en-US" sz="2000" dirty="0" smtClean="0">
                <a:solidFill>
                  <a:srgbClr val="404040"/>
                </a:solidFill>
                <a:latin typeface="Helvetica Neue" charset="0"/>
              </a:rPr>
              <a:t>Migrated multiple large busy online e-commerce sites from typical dedicated server deployments to fully managed, auto scaling OpenStack clusters.</a:t>
            </a:r>
          </a:p>
          <a:p>
            <a:pPr algn="l">
              <a:spcBef>
                <a:spcPts val="1200"/>
              </a:spcBef>
              <a:buClr>
                <a:srgbClr val="AF1C1C"/>
              </a:buClr>
              <a:buSzPct val="60000"/>
              <a:buFont typeface="Lucida Grande" charset="0"/>
              <a:buChar char="‣"/>
              <a:defRPr/>
            </a:pPr>
            <a:r>
              <a:rPr lang="en-US" sz="2000" dirty="0" smtClean="0">
                <a:solidFill>
                  <a:srgbClr val="404040"/>
                </a:solidFill>
                <a:latin typeface="Helvetica Neue" charset="0"/>
              </a:rPr>
              <a:t>Headquartered in Montreal, Quebec, Canada</a:t>
            </a:r>
          </a:p>
        </p:txBody>
      </p:sp>
      <p:sp>
        <p:nvSpPr>
          <p:cNvPr id="8" name="Text Box 2"/>
          <p:cNvSpPr txBox="1">
            <a:spLocks noChangeArrowheads="1"/>
          </p:cNvSpPr>
          <p:nvPr/>
        </p:nvSpPr>
        <p:spPr bwMode="auto">
          <a:xfrm>
            <a:off x="1820904" y="8274030"/>
            <a:ext cx="3178409" cy="466856"/>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808080"/>
                </a:solidFill>
                <a:round/>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50760" tIns="50760" rIns="50760" bIns="50760"/>
          <a:lstStyle>
            <a:lvl1pPr marL="315913" indent="-315913">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1pPr>
            <a:lvl2pPr>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2pPr>
            <a:lvl3pPr>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3pPr>
            <a:lvl4pPr>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4pPr>
            <a:lvl5pPr>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5pPr>
            <a:lvl6pPr marL="2514600" indent="-228600" algn="ctr" fontAlgn="base">
              <a:spcBef>
                <a:spcPct val="0"/>
              </a:spcBef>
              <a:spcAft>
                <a:spcPct val="0"/>
              </a:spcAft>
              <a:buClr>
                <a:srgbClr val="000000"/>
              </a:buClr>
              <a:buSzPct val="100000"/>
              <a:buFont typeface="Times New Roman" charset="0"/>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6pPr>
            <a:lvl7pPr marL="2971800" indent="-228600" algn="ctr" fontAlgn="base">
              <a:spcBef>
                <a:spcPct val="0"/>
              </a:spcBef>
              <a:spcAft>
                <a:spcPct val="0"/>
              </a:spcAft>
              <a:buClr>
                <a:srgbClr val="000000"/>
              </a:buClr>
              <a:buSzPct val="100000"/>
              <a:buFont typeface="Times New Roman" charset="0"/>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7pPr>
            <a:lvl8pPr marL="3429000" indent="-228600" algn="ctr" fontAlgn="base">
              <a:spcBef>
                <a:spcPct val="0"/>
              </a:spcBef>
              <a:spcAft>
                <a:spcPct val="0"/>
              </a:spcAft>
              <a:buClr>
                <a:srgbClr val="000000"/>
              </a:buClr>
              <a:buSzPct val="100000"/>
              <a:buFont typeface="Times New Roman" charset="0"/>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8pPr>
            <a:lvl9pPr marL="3886200" indent="-228600" algn="ctr" fontAlgn="base">
              <a:spcBef>
                <a:spcPct val="0"/>
              </a:spcBef>
              <a:spcAft>
                <a:spcPct val="0"/>
              </a:spcAft>
              <a:buClr>
                <a:srgbClr val="000000"/>
              </a:buClr>
              <a:buSzPct val="100000"/>
              <a:buFont typeface="Times New Roman" charset="0"/>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9pPr>
          </a:lstStyle>
          <a:p>
            <a:pPr marL="0" indent="0">
              <a:spcBef>
                <a:spcPts val="1200"/>
              </a:spcBef>
              <a:buClr>
                <a:srgbClr val="AF1C1C"/>
              </a:buClr>
              <a:buSzPct val="60000"/>
              <a:defRPr/>
            </a:pPr>
            <a:r>
              <a:rPr lang="en-US" sz="1800" dirty="0" err="1" smtClean="0">
                <a:solidFill>
                  <a:srgbClr val="646464"/>
                </a:solidFill>
                <a:latin typeface="Helvetica Neue" charset="0"/>
              </a:rPr>
              <a:t>www.vexxhost.com</a:t>
            </a:r>
            <a:endParaRPr lang="en-US" sz="1800" dirty="0" smtClean="0">
              <a:solidFill>
                <a:srgbClr val="646464"/>
              </a:solidFill>
              <a:latin typeface="Helvetica Neue" charset="0"/>
            </a:endParaRPr>
          </a:p>
        </p:txBody>
      </p:sp>
      <p:sp>
        <p:nvSpPr>
          <p:cNvPr id="11" name="Rectangle 10"/>
          <p:cNvSpPr/>
          <p:nvPr/>
        </p:nvSpPr>
        <p:spPr>
          <a:xfrm>
            <a:off x="653956" y="2159692"/>
            <a:ext cx="11687963" cy="1384995"/>
          </a:xfrm>
          <a:prstGeom prst="rect">
            <a:avLst/>
          </a:prstGeom>
        </p:spPr>
        <p:txBody>
          <a:bodyPr wrap="square">
            <a:spAutoFit/>
          </a:bodyPr>
          <a:lstStyle/>
          <a:p>
            <a:pPr>
              <a:buClr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lang="en-US" sz="2800" dirty="0" smtClean="0">
                <a:solidFill>
                  <a:schemeClr val="bg1"/>
                </a:solidFill>
                <a:latin typeface="Helvetica Neue" charset="0"/>
              </a:rPr>
              <a:t>“With the power of OpenStack and the open source ecosystem that surrounds it, we are able to fully revolutionize the way that online hosting works, while helping businesses reduce their costs.”</a:t>
            </a:r>
            <a:endParaRPr lang="en-US" sz="2800" dirty="0">
              <a:solidFill>
                <a:schemeClr val="bg1"/>
              </a:solidFill>
              <a:latin typeface="Helvetica Neue" charset="0"/>
            </a:endParaRPr>
          </a:p>
        </p:txBody>
      </p:sp>
      <p:sp>
        <p:nvSpPr>
          <p:cNvPr id="14" name="Rectangle 13"/>
          <p:cNvSpPr/>
          <p:nvPr/>
        </p:nvSpPr>
        <p:spPr>
          <a:xfrm>
            <a:off x="7277736" y="3521421"/>
            <a:ext cx="5053806" cy="695575"/>
          </a:xfrm>
          <a:prstGeom prst="rect">
            <a:avLst/>
          </a:prstGeom>
        </p:spPr>
        <p:txBody>
          <a:bodyPr wrap="square">
            <a:spAutoFit/>
          </a:bodyPr>
          <a:lstStyle/>
          <a:p>
            <a:pPr algn="r">
              <a:lnSpc>
                <a:spcPct val="80000"/>
              </a:lnSpc>
              <a:buClr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lang="en-US" sz="2400" dirty="0" smtClean="0">
                <a:latin typeface="Helvetica Neue" charset="0"/>
              </a:rPr>
              <a:t>Mohammed Naser</a:t>
            </a:r>
          </a:p>
          <a:p>
            <a:pPr algn="r">
              <a:lnSpc>
                <a:spcPct val="80000"/>
              </a:lnSpc>
              <a:buClr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lang="en-US" sz="2400" dirty="0">
                <a:latin typeface="Helvetica Neue" charset="0"/>
              </a:rPr>
              <a:t>Chief Executive Officer</a:t>
            </a:r>
          </a:p>
        </p:txBody>
      </p:sp>
      <p:pic>
        <p:nvPicPr>
          <p:cNvPr id="2" name="Picture 1"/>
          <p:cNvPicPr>
            <a:picLocks noChangeAspect="1"/>
          </p:cNvPicPr>
          <p:nvPr/>
        </p:nvPicPr>
        <p:blipFill>
          <a:blip r:embed="rId4" cstate="print"/>
          <a:stretch>
            <a:fillRect/>
          </a:stretch>
        </p:blipFill>
        <p:spPr>
          <a:xfrm>
            <a:off x="736600" y="8196311"/>
            <a:ext cx="911599" cy="651142"/>
          </a:xfrm>
          <a:prstGeom prst="rect">
            <a:avLst/>
          </a:prstGeom>
        </p:spPr>
      </p:pic>
      <p:pic>
        <p:nvPicPr>
          <p:cNvPr id="3" name="Picture 2" descr="Screen Shot 2013-03-06 at 3.48.13 PM.png"/>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a:off x="158744" y="4713187"/>
            <a:ext cx="5643040" cy="3223815"/>
          </a:xfrm>
          <a:prstGeom prst="rect">
            <a:avLst/>
          </a:prstGeom>
        </p:spPr>
      </p:pic>
    </p:spTree>
    <p:extLst>
      <p:ext uri="{BB962C8B-B14F-4D97-AF65-F5344CB8AC3E}">
        <p14:creationId xmlns:p14="http://schemas.microsoft.com/office/powerpoint/2010/main" xmlns="" val="817838839"/>
      </p:ext>
    </p:extLst>
  </p:cSld>
  <p:clrMapOvr>
    <a:masterClrMapping/>
  </p:clrMapOvr>
  <p:transition advClick="0" advTm="15000"/>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descr="Captura de pantalla 13:03:13 10:36.png"/>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736601" y="4843091"/>
            <a:ext cx="4772508" cy="3181672"/>
          </a:xfrm>
          <a:prstGeom prst="rect">
            <a:avLst/>
          </a:prstGeom>
        </p:spPr>
      </p:pic>
      <p:sp>
        <p:nvSpPr>
          <p:cNvPr id="19" name="Rectangle 18"/>
          <p:cNvSpPr/>
          <p:nvPr/>
        </p:nvSpPr>
        <p:spPr>
          <a:xfrm>
            <a:off x="0" y="0"/>
            <a:ext cx="11765923" cy="1702795"/>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bg1">
                  <a:lumMod val="95000"/>
                </a:schemeClr>
              </a:solidFill>
            </a:endParaRPr>
          </a:p>
        </p:txBody>
      </p:sp>
      <p:sp>
        <p:nvSpPr>
          <p:cNvPr id="10" name="Rectangle 9"/>
          <p:cNvSpPr/>
          <p:nvPr/>
        </p:nvSpPr>
        <p:spPr>
          <a:xfrm>
            <a:off x="1" y="1752599"/>
            <a:ext cx="13003212" cy="2752725"/>
          </a:xfrm>
          <a:prstGeom prst="rect">
            <a:avLst/>
          </a:prstGeom>
          <a:solidFill>
            <a:srgbClr val="B6261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4" name="Picture 3" descr="openstack-cloud-software-horizontal-cmyk.png"/>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11859874" y="584451"/>
            <a:ext cx="943336" cy="867668"/>
          </a:xfrm>
          <a:prstGeom prst="rect">
            <a:avLst/>
          </a:prstGeom>
        </p:spPr>
      </p:pic>
      <p:sp>
        <p:nvSpPr>
          <p:cNvPr id="5" name="TextBox 4"/>
          <p:cNvSpPr txBox="1"/>
          <p:nvPr/>
        </p:nvSpPr>
        <p:spPr>
          <a:xfrm>
            <a:off x="653956" y="649801"/>
            <a:ext cx="10284288" cy="615553"/>
          </a:xfrm>
          <a:prstGeom prst="rect">
            <a:avLst/>
          </a:prstGeom>
          <a:noFill/>
        </p:spPr>
        <p:txBody>
          <a:bodyPr wrap="square" rtlCol="0">
            <a:spAutoFit/>
          </a:bodyPr>
          <a:lstStyle/>
          <a:p>
            <a:r>
              <a:rPr lang="en-US" sz="3400" b="1" dirty="0" err="1" smtClean="0">
                <a:solidFill>
                  <a:schemeClr val="tx1">
                    <a:lumMod val="75000"/>
                    <a:lumOff val="25000"/>
                  </a:schemeClr>
                </a:solidFill>
                <a:latin typeface="Helvetica Neue" charset="0"/>
              </a:rPr>
              <a:t>Stackscale</a:t>
            </a:r>
            <a:r>
              <a:rPr lang="en-US" sz="3400" b="1" dirty="0" smtClean="0">
                <a:solidFill>
                  <a:schemeClr val="tx1">
                    <a:lumMod val="75000"/>
                    <a:lumOff val="25000"/>
                  </a:schemeClr>
                </a:solidFill>
                <a:latin typeface="Helvetica Neue" charset="0"/>
              </a:rPr>
              <a:t> </a:t>
            </a:r>
            <a:r>
              <a:rPr lang="en-US" sz="3400" dirty="0" smtClean="0">
                <a:solidFill>
                  <a:schemeClr val="tx1">
                    <a:lumMod val="75000"/>
                    <a:lumOff val="25000"/>
                  </a:schemeClr>
                </a:solidFill>
                <a:latin typeface="Helvetica Neue" charset="0"/>
              </a:rPr>
              <a:t>uses </a:t>
            </a:r>
            <a:r>
              <a:rPr lang="en-US" sz="3400" dirty="0" err="1" smtClean="0">
                <a:solidFill>
                  <a:schemeClr val="tx1">
                    <a:lumMod val="75000"/>
                    <a:lumOff val="25000"/>
                  </a:schemeClr>
                </a:solidFill>
                <a:latin typeface="Helvetica Neue" charset="0"/>
              </a:rPr>
              <a:t>OpenStack</a:t>
            </a:r>
            <a:endParaRPr lang="en-US" sz="3400" dirty="0" smtClean="0">
              <a:solidFill>
                <a:schemeClr val="tx1">
                  <a:lumMod val="75000"/>
                  <a:lumOff val="25000"/>
                </a:schemeClr>
              </a:solidFill>
              <a:latin typeface="Helvetica Neue" charset="0"/>
            </a:endParaRPr>
          </a:p>
        </p:txBody>
      </p:sp>
      <p:sp>
        <p:nvSpPr>
          <p:cNvPr id="6" name="Text Box 2"/>
          <p:cNvSpPr txBox="1">
            <a:spLocks noChangeArrowheads="1"/>
          </p:cNvSpPr>
          <p:nvPr/>
        </p:nvSpPr>
        <p:spPr bwMode="auto">
          <a:xfrm>
            <a:off x="5900932" y="6638491"/>
            <a:ext cx="6902278" cy="3217037"/>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808080"/>
                </a:solidFill>
                <a:round/>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50760" tIns="50760" rIns="50760" bIns="50760"/>
          <a:lstStyle>
            <a:lvl1pPr marL="315913" indent="-315913">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1pPr>
            <a:lvl2pPr>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2pPr>
            <a:lvl3pPr>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3pPr>
            <a:lvl4pPr>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4pPr>
            <a:lvl5pPr>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5pPr>
            <a:lvl6pPr marL="2514600" indent="-228600" algn="ctr" fontAlgn="base">
              <a:spcBef>
                <a:spcPct val="0"/>
              </a:spcBef>
              <a:spcAft>
                <a:spcPct val="0"/>
              </a:spcAft>
              <a:buClr>
                <a:srgbClr val="000000"/>
              </a:buClr>
              <a:buSzPct val="100000"/>
              <a:buFont typeface="Times New Roman" charset="0"/>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6pPr>
            <a:lvl7pPr marL="2971800" indent="-228600" algn="ctr" fontAlgn="base">
              <a:spcBef>
                <a:spcPct val="0"/>
              </a:spcBef>
              <a:spcAft>
                <a:spcPct val="0"/>
              </a:spcAft>
              <a:buClr>
                <a:srgbClr val="000000"/>
              </a:buClr>
              <a:buSzPct val="100000"/>
              <a:buFont typeface="Times New Roman" charset="0"/>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7pPr>
            <a:lvl8pPr marL="3429000" indent="-228600" algn="ctr" fontAlgn="base">
              <a:spcBef>
                <a:spcPct val="0"/>
              </a:spcBef>
              <a:spcAft>
                <a:spcPct val="0"/>
              </a:spcAft>
              <a:buClr>
                <a:srgbClr val="000000"/>
              </a:buClr>
              <a:buSzPct val="100000"/>
              <a:buFont typeface="Times New Roman" charset="0"/>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8pPr>
            <a:lvl9pPr marL="3886200" indent="-228600" algn="ctr" fontAlgn="base">
              <a:spcBef>
                <a:spcPct val="0"/>
              </a:spcBef>
              <a:spcAft>
                <a:spcPct val="0"/>
              </a:spcAft>
              <a:buClr>
                <a:srgbClr val="000000"/>
              </a:buClr>
              <a:buSzPct val="100000"/>
              <a:buFont typeface="Times New Roman" charset="0"/>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9pPr>
          </a:lstStyle>
          <a:p>
            <a:pPr algn="l">
              <a:spcBef>
                <a:spcPts val="1200"/>
              </a:spcBef>
              <a:buClr>
                <a:srgbClr val="AF1C1C"/>
              </a:buClr>
              <a:buSzPct val="60000"/>
              <a:buFont typeface="Lucida Grande" charset="0"/>
              <a:buChar char="‣"/>
              <a:defRPr/>
            </a:pPr>
            <a:r>
              <a:rPr lang="en-US" sz="2000" dirty="0" smtClean="0">
                <a:solidFill>
                  <a:schemeClr val="tx1">
                    <a:lumMod val="65000"/>
                    <a:lumOff val="35000"/>
                  </a:schemeClr>
                </a:solidFill>
                <a:latin typeface="Helvetica Neue"/>
                <a:cs typeface="Helvetica Neue"/>
              </a:rPr>
              <a:t>Private Cloud Provider</a:t>
            </a:r>
            <a:r>
              <a:rPr lang="en-US" sz="2000" dirty="0">
                <a:solidFill>
                  <a:schemeClr val="tx1">
                    <a:lumMod val="65000"/>
                    <a:lumOff val="35000"/>
                  </a:schemeClr>
                </a:solidFill>
                <a:latin typeface="Helvetica Neue"/>
                <a:cs typeface="Helvetica Neue"/>
              </a:rPr>
              <a:t> </a:t>
            </a:r>
            <a:r>
              <a:rPr lang="en-US" sz="2000" dirty="0" smtClean="0">
                <a:solidFill>
                  <a:schemeClr val="tx1">
                    <a:lumMod val="65000"/>
                    <a:lumOff val="35000"/>
                  </a:schemeClr>
                </a:solidFill>
                <a:latin typeface="Helvetica Neue"/>
                <a:cs typeface="Helvetica Neue"/>
              </a:rPr>
              <a:t>meaning predictable performance</a:t>
            </a:r>
          </a:p>
          <a:p>
            <a:pPr algn="l">
              <a:spcBef>
                <a:spcPts val="1200"/>
              </a:spcBef>
              <a:buClr>
                <a:srgbClr val="AF1C1C"/>
              </a:buClr>
              <a:buSzPct val="60000"/>
              <a:buFont typeface="Lucida Grande" charset="0"/>
              <a:buChar char="‣"/>
              <a:defRPr/>
            </a:pPr>
            <a:r>
              <a:rPr lang="en-US" sz="2000" dirty="0" smtClean="0">
                <a:solidFill>
                  <a:schemeClr val="tx1">
                    <a:lumMod val="65000"/>
                    <a:lumOff val="35000"/>
                  </a:schemeClr>
                </a:solidFill>
                <a:latin typeface="Helvetica Neue"/>
                <a:cs typeface="Helvetica Neue"/>
              </a:rPr>
              <a:t>Using </a:t>
            </a:r>
            <a:r>
              <a:rPr lang="en-US" sz="2000" dirty="0" err="1" smtClean="0">
                <a:solidFill>
                  <a:schemeClr val="tx1">
                    <a:lumMod val="65000"/>
                    <a:lumOff val="35000"/>
                  </a:schemeClr>
                </a:solidFill>
                <a:latin typeface="Helvetica Neue"/>
                <a:cs typeface="Helvetica Neue"/>
              </a:rPr>
              <a:t>OpenStack</a:t>
            </a:r>
            <a:r>
              <a:rPr lang="en-US" sz="2000" dirty="0" smtClean="0">
                <a:solidFill>
                  <a:schemeClr val="tx1">
                    <a:lumMod val="65000"/>
                    <a:lumOff val="35000"/>
                  </a:schemeClr>
                </a:solidFill>
                <a:latin typeface="Helvetica Neue"/>
                <a:cs typeface="Helvetica Neue"/>
              </a:rPr>
              <a:t> to power 4 interconnected infrastructures in different international locations</a:t>
            </a:r>
          </a:p>
          <a:p>
            <a:pPr>
              <a:spcBef>
                <a:spcPts val="1200"/>
              </a:spcBef>
              <a:buClr>
                <a:srgbClr val="AF1C1C"/>
              </a:buClr>
              <a:buSzPct val="60000"/>
              <a:buFont typeface="Lucida Grande" charset="0"/>
              <a:buChar char="‣"/>
              <a:defRPr/>
            </a:pPr>
            <a:r>
              <a:rPr lang="en-US" sz="2000" dirty="0" smtClean="0">
                <a:solidFill>
                  <a:schemeClr val="tx1">
                    <a:lumMod val="65000"/>
                    <a:lumOff val="35000"/>
                  </a:schemeClr>
                </a:solidFill>
                <a:latin typeface="Helvetica Neue"/>
                <a:cs typeface="Helvetica Neue"/>
              </a:rPr>
              <a:t>Based on </a:t>
            </a:r>
            <a:r>
              <a:rPr lang="en-US" sz="2000" dirty="0" err="1" smtClean="0">
                <a:solidFill>
                  <a:schemeClr val="tx1">
                    <a:lumMod val="65000"/>
                    <a:lumOff val="35000"/>
                  </a:schemeClr>
                </a:solidFill>
                <a:latin typeface="Helvetica Neue"/>
                <a:cs typeface="Helvetica Neue"/>
              </a:rPr>
              <a:t>StackOps</a:t>
            </a:r>
            <a:r>
              <a:rPr lang="en-US" sz="2000" dirty="0">
                <a:solidFill>
                  <a:schemeClr val="tx1">
                    <a:lumMod val="65000"/>
                    <a:lumOff val="35000"/>
                  </a:schemeClr>
                </a:solidFill>
                <a:latin typeface="Helvetica Neue"/>
                <a:cs typeface="Helvetica Neue"/>
              </a:rPr>
              <a:t> </a:t>
            </a:r>
            <a:r>
              <a:rPr lang="en-US" sz="2000" dirty="0" smtClean="0">
                <a:solidFill>
                  <a:schemeClr val="tx1">
                    <a:lumMod val="65000"/>
                    <a:lumOff val="35000"/>
                  </a:schemeClr>
                </a:solidFill>
                <a:latin typeface="Helvetica Neue"/>
                <a:cs typeface="Helvetica Neue"/>
              </a:rPr>
              <a:t>with fully automated provisioning and </a:t>
            </a:r>
            <a:r>
              <a:rPr lang="en-US" sz="2000" dirty="0">
                <a:solidFill>
                  <a:schemeClr val="tx1">
                    <a:lumMod val="65000"/>
                    <a:lumOff val="35000"/>
                  </a:schemeClr>
                </a:solidFill>
                <a:latin typeface="Helvetica Neue"/>
                <a:cs typeface="Helvetica Neue"/>
              </a:rPr>
              <a:t>highly skilled and efficient customer support</a:t>
            </a:r>
            <a:endParaRPr lang="en-US" sz="2000" dirty="0" smtClean="0">
              <a:solidFill>
                <a:schemeClr val="tx1">
                  <a:lumMod val="65000"/>
                  <a:lumOff val="35000"/>
                </a:schemeClr>
              </a:solidFill>
              <a:latin typeface="Helvetica Neue"/>
              <a:cs typeface="Helvetica Neue"/>
            </a:endParaRPr>
          </a:p>
          <a:p>
            <a:pPr algn="l">
              <a:spcBef>
                <a:spcPts val="1200"/>
              </a:spcBef>
              <a:buClr>
                <a:srgbClr val="AF1C1C"/>
              </a:buClr>
              <a:buSzPct val="60000"/>
              <a:buFont typeface="Lucida Grande" charset="0"/>
              <a:buChar char="‣"/>
              <a:defRPr/>
            </a:pPr>
            <a:r>
              <a:rPr lang="en-US" sz="2000" dirty="0" smtClean="0">
                <a:solidFill>
                  <a:schemeClr val="tx1">
                    <a:lumMod val="65000"/>
                    <a:lumOff val="35000"/>
                  </a:schemeClr>
                </a:solidFill>
                <a:latin typeface="Helvetica Neue"/>
                <a:cs typeface="Helvetica Neue"/>
              </a:rPr>
              <a:t>Headquartered in Amsterdam, The Netherlands. Founded by 15 year experienced hosting entrepreneurs</a:t>
            </a:r>
          </a:p>
        </p:txBody>
      </p:sp>
      <p:sp>
        <p:nvSpPr>
          <p:cNvPr id="8" name="Text Box 2"/>
          <p:cNvSpPr txBox="1">
            <a:spLocks noChangeArrowheads="1"/>
          </p:cNvSpPr>
          <p:nvPr/>
        </p:nvSpPr>
        <p:spPr bwMode="auto">
          <a:xfrm>
            <a:off x="2330699" y="8980491"/>
            <a:ext cx="3178409" cy="466856"/>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808080"/>
                </a:solidFill>
                <a:round/>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50760" tIns="50760" rIns="50760" bIns="50760"/>
          <a:lstStyle>
            <a:lvl1pPr marL="315913" indent="-315913">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1pPr>
            <a:lvl2pPr>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2pPr>
            <a:lvl3pPr>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3pPr>
            <a:lvl4pPr>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4pPr>
            <a:lvl5pPr>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5pPr>
            <a:lvl6pPr marL="2514600" indent="-228600" algn="ctr" fontAlgn="base">
              <a:spcBef>
                <a:spcPct val="0"/>
              </a:spcBef>
              <a:spcAft>
                <a:spcPct val="0"/>
              </a:spcAft>
              <a:buClr>
                <a:srgbClr val="000000"/>
              </a:buClr>
              <a:buSzPct val="100000"/>
              <a:buFont typeface="Times New Roman" charset="0"/>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6pPr>
            <a:lvl7pPr marL="2971800" indent="-228600" algn="ctr" fontAlgn="base">
              <a:spcBef>
                <a:spcPct val="0"/>
              </a:spcBef>
              <a:spcAft>
                <a:spcPct val="0"/>
              </a:spcAft>
              <a:buClr>
                <a:srgbClr val="000000"/>
              </a:buClr>
              <a:buSzPct val="100000"/>
              <a:buFont typeface="Times New Roman" charset="0"/>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7pPr>
            <a:lvl8pPr marL="3429000" indent="-228600" algn="ctr" fontAlgn="base">
              <a:spcBef>
                <a:spcPct val="0"/>
              </a:spcBef>
              <a:spcAft>
                <a:spcPct val="0"/>
              </a:spcAft>
              <a:buClr>
                <a:srgbClr val="000000"/>
              </a:buClr>
              <a:buSzPct val="100000"/>
              <a:buFont typeface="Times New Roman" charset="0"/>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8pPr>
            <a:lvl9pPr marL="3886200" indent="-228600" algn="ctr" fontAlgn="base">
              <a:spcBef>
                <a:spcPct val="0"/>
              </a:spcBef>
              <a:spcAft>
                <a:spcPct val="0"/>
              </a:spcAft>
              <a:buClr>
                <a:srgbClr val="000000"/>
              </a:buClr>
              <a:buSzPct val="100000"/>
              <a:buFont typeface="Times New Roman" charset="0"/>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9pPr>
          </a:lstStyle>
          <a:p>
            <a:pPr marL="0" indent="0">
              <a:spcBef>
                <a:spcPts val="1200"/>
              </a:spcBef>
              <a:buClr>
                <a:srgbClr val="AF1C1C"/>
              </a:buClr>
              <a:buSzPct val="60000"/>
              <a:defRPr/>
            </a:pPr>
            <a:r>
              <a:rPr lang="en-US" sz="1800" dirty="0" err="1" smtClean="0">
                <a:solidFill>
                  <a:srgbClr val="646464"/>
                </a:solidFill>
                <a:latin typeface="Helvetica Neue" charset="0"/>
              </a:rPr>
              <a:t>www.stackscale.com</a:t>
            </a:r>
            <a:endParaRPr lang="en-US" sz="1800" dirty="0" smtClean="0">
              <a:solidFill>
                <a:srgbClr val="646464"/>
              </a:solidFill>
              <a:latin typeface="Helvetica Neue" charset="0"/>
            </a:endParaRPr>
          </a:p>
        </p:txBody>
      </p:sp>
      <p:sp>
        <p:nvSpPr>
          <p:cNvPr id="11" name="Rectangle 10"/>
          <p:cNvSpPr/>
          <p:nvPr/>
        </p:nvSpPr>
        <p:spPr>
          <a:xfrm>
            <a:off x="653956" y="2070046"/>
            <a:ext cx="11687963" cy="1815882"/>
          </a:xfrm>
          <a:prstGeom prst="rect">
            <a:avLst/>
          </a:prstGeom>
        </p:spPr>
        <p:txBody>
          <a:bodyPr wrap="square">
            <a:spAutoFit/>
          </a:bodyPr>
          <a:lstStyle/>
          <a:p>
            <a:pPr>
              <a:buClr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lang="en-US" sz="2800" dirty="0" smtClean="0">
                <a:solidFill>
                  <a:schemeClr val="bg1"/>
                </a:solidFill>
                <a:latin typeface="Helvetica Neue" charset="0"/>
              </a:rPr>
              <a:t>“OpenStack is a once in a lifetime opportunity we could not miss. Combining it with the most financial and energy efficient hardware support allows our customers to benefit from a competitive price for fully featured private clouds.”</a:t>
            </a:r>
            <a:endParaRPr lang="en-US" sz="2800" dirty="0">
              <a:solidFill>
                <a:schemeClr val="bg1"/>
              </a:solidFill>
              <a:latin typeface="Helvetica Neue" charset="0"/>
            </a:endParaRPr>
          </a:p>
        </p:txBody>
      </p:sp>
      <p:sp>
        <p:nvSpPr>
          <p:cNvPr id="14" name="Rectangle 13"/>
          <p:cNvSpPr/>
          <p:nvPr/>
        </p:nvSpPr>
        <p:spPr>
          <a:xfrm>
            <a:off x="7277736" y="3667725"/>
            <a:ext cx="5053806" cy="695575"/>
          </a:xfrm>
          <a:prstGeom prst="rect">
            <a:avLst/>
          </a:prstGeom>
        </p:spPr>
        <p:txBody>
          <a:bodyPr wrap="square">
            <a:spAutoFit/>
          </a:bodyPr>
          <a:lstStyle/>
          <a:p>
            <a:pPr algn="r">
              <a:lnSpc>
                <a:spcPct val="80000"/>
              </a:lnSpc>
              <a:buClr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lang="en-US" sz="2400" dirty="0" smtClean="0">
                <a:latin typeface="Helvetica Neue" charset="0"/>
              </a:rPr>
              <a:t>David Sanchez</a:t>
            </a:r>
          </a:p>
          <a:p>
            <a:pPr algn="r">
              <a:lnSpc>
                <a:spcPct val="80000"/>
              </a:lnSpc>
              <a:buClr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lang="en-US" sz="2400" dirty="0" smtClean="0">
                <a:latin typeface="Helvetica Neue" charset="0"/>
              </a:rPr>
              <a:t>Founder &amp; CEO, </a:t>
            </a:r>
            <a:r>
              <a:rPr lang="en-US" sz="2400" dirty="0" err="1" smtClean="0">
                <a:latin typeface="Helvetica Neue" charset="0"/>
              </a:rPr>
              <a:t>Stackscale</a:t>
            </a:r>
            <a:endParaRPr lang="en-US" sz="2400" dirty="0">
              <a:latin typeface="Helvetica Neue" charset="0"/>
            </a:endParaRPr>
          </a:p>
        </p:txBody>
      </p:sp>
      <p:pic>
        <p:nvPicPr>
          <p:cNvPr id="2" name="Picture 1"/>
          <p:cNvPicPr>
            <a:picLocks noChangeAspect="1"/>
          </p:cNvPicPr>
          <p:nvPr/>
        </p:nvPicPr>
        <p:blipFill>
          <a:blip r:embed="rId4" cstate="print"/>
          <a:stretch>
            <a:fillRect/>
          </a:stretch>
        </p:blipFill>
        <p:spPr>
          <a:xfrm>
            <a:off x="736600" y="8186738"/>
            <a:ext cx="911598" cy="651141"/>
          </a:xfrm>
          <a:prstGeom prst="rect">
            <a:avLst/>
          </a:prstGeom>
        </p:spPr>
      </p:pic>
      <p:pic>
        <p:nvPicPr>
          <p:cNvPr id="7" name="Picture 6"/>
          <p:cNvPicPr>
            <a:picLocks noChangeAspect="1"/>
          </p:cNvPicPr>
          <p:nvPr/>
        </p:nvPicPr>
        <p:blipFill>
          <a:blip r:embed="rId5" cstate="print"/>
          <a:stretch>
            <a:fillRect/>
          </a:stretch>
        </p:blipFill>
        <p:spPr>
          <a:xfrm>
            <a:off x="1701109" y="8186738"/>
            <a:ext cx="911598" cy="651141"/>
          </a:xfrm>
          <a:prstGeom prst="rect">
            <a:avLst/>
          </a:prstGeom>
        </p:spPr>
      </p:pic>
      <p:pic>
        <p:nvPicPr>
          <p:cNvPr id="13" name="Imagen 12" descr="logo.eps"/>
          <p:cNvPicPr>
            <a:picLocks noChangeAspect="1"/>
          </p:cNvPicPr>
          <p:nvPr/>
        </p:nvPicPr>
        <p:blipFill>
          <a:blip r:embed="rId6" cstate="print">
            <a:extLst>
              <a:ext uri="{28A0092B-C50C-407E-A947-70E740481C1C}">
                <a14:useLocalDpi xmlns:a14="http://schemas.microsoft.com/office/drawing/2010/main" xmlns="" val="0"/>
              </a:ext>
            </a:extLst>
          </a:blip>
          <a:stretch>
            <a:fillRect/>
          </a:stretch>
        </p:blipFill>
        <p:spPr>
          <a:xfrm>
            <a:off x="6657663" y="5103067"/>
            <a:ext cx="5108260" cy="1231992"/>
          </a:xfrm>
          <a:prstGeom prst="rect">
            <a:avLst/>
          </a:prstGeom>
        </p:spPr>
      </p:pic>
      <p:pic>
        <p:nvPicPr>
          <p:cNvPr id="17" name="Picture 16"/>
          <p:cNvPicPr>
            <a:picLocks noChangeAspect="1"/>
          </p:cNvPicPr>
          <p:nvPr/>
        </p:nvPicPr>
        <p:blipFill>
          <a:blip r:embed="rId7" cstate="print"/>
          <a:stretch>
            <a:fillRect/>
          </a:stretch>
        </p:blipFill>
        <p:spPr>
          <a:xfrm>
            <a:off x="2685859" y="8186736"/>
            <a:ext cx="911599" cy="651143"/>
          </a:xfrm>
          <a:prstGeom prst="rect">
            <a:avLst/>
          </a:prstGeom>
        </p:spPr>
      </p:pic>
    </p:spTree>
    <p:extLst>
      <p:ext uri="{BB962C8B-B14F-4D97-AF65-F5344CB8AC3E}">
        <p14:creationId xmlns:p14="http://schemas.microsoft.com/office/powerpoint/2010/main" xmlns="" val="1830658277"/>
      </p:ext>
    </p:extLst>
  </p:cSld>
  <p:clrMapOvr>
    <a:masterClrMapping/>
  </p:clrMapOvr>
  <p:transition advClick="0" advTm="15000"/>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a:xfrm>
            <a:off x="0" y="0"/>
            <a:ext cx="11765923" cy="1702795"/>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bg1">
                  <a:lumMod val="95000"/>
                </a:schemeClr>
              </a:solidFill>
            </a:endParaRPr>
          </a:p>
        </p:txBody>
      </p:sp>
      <p:sp>
        <p:nvSpPr>
          <p:cNvPr id="10" name="Rectangle 9"/>
          <p:cNvSpPr/>
          <p:nvPr/>
        </p:nvSpPr>
        <p:spPr>
          <a:xfrm>
            <a:off x="1" y="1752600"/>
            <a:ext cx="13003212" cy="2531598"/>
          </a:xfrm>
          <a:prstGeom prst="rect">
            <a:avLst/>
          </a:prstGeom>
          <a:solidFill>
            <a:srgbClr val="B6261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4" name="Picture 3" descr="openstack-cloud-software-horizontal-cmyk.png"/>
          <p:cNvPicPr>
            <a:picLocks noChangeAspect="1"/>
          </p:cNvPicPr>
          <p:nvPr/>
        </p:nvPicPr>
        <p:blipFill>
          <a:blip r:embed="rId2" cstate="print">
            <a:extLst>
              <a:ext uri="{28A0092B-C50C-407E-A947-70E740481C1C}">
                <a14:useLocalDpi xmlns="" xmlns:a14="http://schemas.microsoft.com/office/drawing/2010/main" val="0"/>
              </a:ext>
            </a:extLst>
          </a:blip>
          <a:stretch>
            <a:fillRect/>
          </a:stretch>
        </p:blipFill>
        <p:spPr>
          <a:xfrm>
            <a:off x="11859874" y="584451"/>
            <a:ext cx="943336" cy="867668"/>
          </a:xfrm>
          <a:prstGeom prst="rect">
            <a:avLst/>
          </a:prstGeom>
        </p:spPr>
      </p:pic>
      <p:sp>
        <p:nvSpPr>
          <p:cNvPr id="5" name="TextBox 4"/>
          <p:cNvSpPr txBox="1"/>
          <p:nvPr/>
        </p:nvSpPr>
        <p:spPr>
          <a:xfrm>
            <a:off x="653956" y="649801"/>
            <a:ext cx="10284288" cy="707886"/>
          </a:xfrm>
          <a:prstGeom prst="rect">
            <a:avLst/>
          </a:prstGeom>
          <a:noFill/>
        </p:spPr>
        <p:txBody>
          <a:bodyPr wrap="square" rtlCol="0">
            <a:spAutoFit/>
          </a:bodyPr>
          <a:lstStyle/>
          <a:p>
            <a:r>
              <a:rPr lang="en-US" sz="4000" b="1" dirty="0" smtClean="0">
                <a:solidFill>
                  <a:schemeClr val="tx1">
                    <a:lumMod val="75000"/>
                    <a:lumOff val="25000"/>
                  </a:schemeClr>
                </a:solidFill>
                <a:latin typeface="Helvetica Neue" charset="0"/>
              </a:rPr>
              <a:t>Rackspace </a:t>
            </a:r>
            <a:r>
              <a:rPr lang="en-US" sz="4000" dirty="0" smtClean="0">
                <a:solidFill>
                  <a:schemeClr val="tx1">
                    <a:lumMod val="75000"/>
                    <a:lumOff val="25000"/>
                  </a:schemeClr>
                </a:solidFill>
                <a:latin typeface="Helvetica Neue" charset="0"/>
              </a:rPr>
              <a:t>uses OpenStack</a:t>
            </a:r>
          </a:p>
        </p:txBody>
      </p:sp>
      <p:sp>
        <p:nvSpPr>
          <p:cNvPr id="6" name="Text Box 2"/>
          <p:cNvSpPr txBox="1">
            <a:spLocks noChangeArrowheads="1"/>
          </p:cNvSpPr>
          <p:nvPr/>
        </p:nvSpPr>
        <p:spPr bwMode="auto">
          <a:xfrm>
            <a:off x="4999314" y="6014701"/>
            <a:ext cx="7578340" cy="3504545"/>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808080"/>
                </a:solidFill>
                <a:round/>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lIns="50760" tIns="50760" rIns="50760" bIns="50760"/>
          <a:lstStyle>
            <a:lvl1pPr marL="315913" indent="-315913">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1pPr>
            <a:lvl2pPr>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2pPr>
            <a:lvl3pPr>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3pPr>
            <a:lvl4pPr>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4pPr>
            <a:lvl5pPr>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5pPr>
            <a:lvl6pPr marL="2514600" indent="-228600" algn="ctr" fontAlgn="base">
              <a:spcBef>
                <a:spcPct val="0"/>
              </a:spcBef>
              <a:spcAft>
                <a:spcPct val="0"/>
              </a:spcAft>
              <a:buClr>
                <a:srgbClr val="000000"/>
              </a:buClr>
              <a:buSzPct val="100000"/>
              <a:buFont typeface="Times New Roman" charset="0"/>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6pPr>
            <a:lvl7pPr marL="2971800" indent="-228600" algn="ctr" fontAlgn="base">
              <a:spcBef>
                <a:spcPct val="0"/>
              </a:spcBef>
              <a:spcAft>
                <a:spcPct val="0"/>
              </a:spcAft>
              <a:buClr>
                <a:srgbClr val="000000"/>
              </a:buClr>
              <a:buSzPct val="100000"/>
              <a:buFont typeface="Times New Roman" charset="0"/>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7pPr>
            <a:lvl8pPr marL="3429000" indent="-228600" algn="ctr" fontAlgn="base">
              <a:spcBef>
                <a:spcPct val="0"/>
              </a:spcBef>
              <a:spcAft>
                <a:spcPct val="0"/>
              </a:spcAft>
              <a:buClr>
                <a:srgbClr val="000000"/>
              </a:buClr>
              <a:buSzPct val="100000"/>
              <a:buFont typeface="Times New Roman" charset="0"/>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8pPr>
            <a:lvl9pPr marL="3886200" indent="-228600" algn="ctr" fontAlgn="base">
              <a:spcBef>
                <a:spcPct val="0"/>
              </a:spcBef>
              <a:spcAft>
                <a:spcPct val="0"/>
              </a:spcAft>
              <a:buClr>
                <a:srgbClr val="000000"/>
              </a:buClr>
              <a:buSzPct val="100000"/>
              <a:buFont typeface="Times New Roman" charset="0"/>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9pPr>
          </a:lstStyle>
          <a:p>
            <a:pPr marL="342900" indent="-342900">
              <a:spcBef>
                <a:spcPts val="600"/>
              </a:spcBef>
              <a:buFont typeface="Arial"/>
              <a:buChar char="•"/>
            </a:pPr>
            <a:r>
              <a:rPr lang="en-US" sz="2000" dirty="0" smtClean="0">
                <a:latin typeface="Helvetica Neue"/>
                <a:cs typeface="Helvetica Neue"/>
              </a:rPr>
              <a:t>Co-founder of OpenStack </a:t>
            </a:r>
            <a:r>
              <a:rPr lang="en-US" sz="2000" dirty="0">
                <a:latin typeface="Helvetica Neue"/>
                <a:cs typeface="Helvetica Neue"/>
              </a:rPr>
              <a:t>with NASA in </a:t>
            </a:r>
            <a:r>
              <a:rPr lang="en-US" sz="2000" dirty="0" smtClean="0">
                <a:latin typeface="Helvetica Neue"/>
                <a:cs typeface="Helvetica Neue"/>
              </a:rPr>
              <a:t>2010</a:t>
            </a:r>
            <a:endParaRPr lang="en-US" sz="2000" dirty="0">
              <a:latin typeface="Helvetica Neue"/>
              <a:cs typeface="Helvetica Neue"/>
            </a:endParaRPr>
          </a:p>
          <a:p>
            <a:pPr marL="342900" indent="-342900">
              <a:spcBef>
                <a:spcPts val="600"/>
              </a:spcBef>
              <a:buFont typeface="Arial"/>
              <a:buChar char="•"/>
            </a:pPr>
            <a:r>
              <a:rPr lang="en-US" sz="2000" dirty="0" smtClean="0">
                <a:latin typeface="Helvetica Neue"/>
                <a:cs typeface="Helvetica Neue"/>
              </a:rPr>
              <a:t>#</a:t>
            </a:r>
            <a:r>
              <a:rPr lang="en-US" sz="2000" dirty="0">
                <a:latin typeface="Helvetica Neue"/>
                <a:cs typeface="Helvetica Neue"/>
              </a:rPr>
              <a:t>1 </a:t>
            </a:r>
            <a:r>
              <a:rPr lang="en-US" sz="2000" dirty="0" smtClean="0">
                <a:latin typeface="Helvetica Neue"/>
                <a:cs typeface="Helvetica Neue"/>
              </a:rPr>
              <a:t>hosting provider for </a:t>
            </a:r>
            <a:r>
              <a:rPr lang="en-US" sz="2000" dirty="0">
                <a:latin typeface="Helvetica Neue"/>
                <a:cs typeface="Helvetica Neue"/>
              </a:rPr>
              <a:t>the top 100,000 websites in the world</a:t>
            </a:r>
          </a:p>
          <a:p>
            <a:pPr marL="342900" indent="-342900">
              <a:spcBef>
                <a:spcPts val="600"/>
              </a:spcBef>
              <a:buFont typeface="Arial"/>
              <a:buChar char="•"/>
            </a:pPr>
            <a:r>
              <a:rPr lang="en-US" sz="2000" dirty="0">
                <a:latin typeface="Helvetica Neue"/>
                <a:cs typeface="Helvetica Neue"/>
              </a:rPr>
              <a:t>T</a:t>
            </a:r>
            <a:r>
              <a:rPr lang="en-US" sz="2000" dirty="0" smtClean="0">
                <a:latin typeface="Helvetica Neue"/>
                <a:cs typeface="Helvetica Neue"/>
              </a:rPr>
              <a:t>ens </a:t>
            </a:r>
            <a:r>
              <a:rPr lang="en-US" sz="2000" dirty="0">
                <a:latin typeface="Helvetica Neue"/>
                <a:cs typeface="Helvetica Neue"/>
              </a:rPr>
              <a:t>of thousands of </a:t>
            </a:r>
            <a:r>
              <a:rPr lang="en-US" sz="2000" dirty="0" err="1">
                <a:latin typeface="Helvetica Neue"/>
                <a:cs typeface="Helvetica Neue"/>
              </a:rPr>
              <a:t>OpenStack</a:t>
            </a:r>
            <a:r>
              <a:rPr lang="en-US" sz="2000" dirty="0">
                <a:latin typeface="Helvetica Neue"/>
                <a:cs typeface="Helvetica Neue"/>
              </a:rPr>
              <a:t>-powered production servers in the public cloud </a:t>
            </a:r>
          </a:p>
          <a:p>
            <a:pPr marL="342900" indent="-342900">
              <a:spcBef>
                <a:spcPts val="600"/>
              </a:spcBef>
              <a:buFont typeface="Arial"/>
              <a:buChar char="•"/>
            </a:pPr>
            <a:r>
              <a:rPr lang="en-US" sz="2000" dirty="0" smtClean="0">
                <a:latin typeface="Helvetica Neue"/>
                <a:cs typeface="Helvetica Neue"/>
              </a:rPr>
              <a:t>Rackspace </a:t>
            </a:r>
            <a:r>
              <a:rPr lang="en-US" sz="2000" dirty="0">
                <a:latin typeface="Helvetica Neue"/>
                <a:cs typeface="Helvetica Neue"/>
              </a:rPr>
              <a:t>provides training, support </a:t>
            </a:r>
            <a:r>
              <a:rPr lang="en-US" sz="2000" dirty="0" smtClean="0">
                <a:latin typeface="Helvetica Neue"/>
                <a:cs typeface="Helvetica Neue"/>
              </a:rPr>
              <a:t>and </a:t>
            </a:r>
            <a:r>
              <a:rPr lang="en-US" sz="2000" dirty="0">
                <a:latin typeface="Helvetica Neue"/>
                <a:cs typeface="Helvetica Neue"/>
              </a:rPr>
              <a:t>operations expertise on our Private Cloud </a:t>
            </a:r>
            <a:r>
              <a:rPr lang="en-US" sz="2000" dirty="0" smtClean="0">
                <a:latin typeface="Helvetica Neue"/>
                <a:cs typeface="Helvetica Neue"/>
              </a:rPr>
              <a:t>powered by OpenStack to </a:t>
            </a:r>
            <a:r>
              <a:rPr lang="en-US" sz="2000" dirty="0">
                <a:latin typeface="Helvetica Neue"/>
                <a:cs typeface="Helvetica Neue"/>
              </a:rPr>
              <a:t>over 100 organizations, including </a:t>
            </a:r>
            <a:r>
              <a:rPr lang="en-US" sz="2000" dirty="0" smtClean="0">
                <a:latin typeface="Helvetica Neue"/>
                <a:cs typeface="Helvetica Neue"/>
              </a:rPr>
              <a:t>22% </a:t>
            </a:r>
            <a:r>
              <a:rPr lang="en-US" sz="2000" dirty="0">
                <a:latin typeface="Helvetica Neue"/>
                <a:cs typeface="Helvetica Neue"/>
              </a:rPr>
              <a:t>of the </a:t>
            </a:r>
            <a:r>
              <a:rPr lang="en-US" sz="2000" dirty="0" smtClean="0">
                <a:latin typeface="Helvetica Neue"/>
                <a:cs typeface="Helvetica Neue"/>
              </a:rPr>
              <a:t>FORTUNE100 </a:t>
            </a:r>
          </a:p>
          <a:p>
            <a:pPr marL="342900" indent="-342900">
              <a:spcBef>
                <a:spcPts val="600"/>
              </a:spcBef>
              <a:buFont typeface="Arial"/>
              <a:buChar char="•"/>
            </a:pPr>
            <a:r>
              <a:rPr lang="en-US" sz="2000" dirty="0" smtClean="0">
                <a:latin typeface="Helvetica Neue"/>
                <a:cs typeface="Helvetica Neue"/>
              </a:rPr>
              <a:t>Rackspace </a:t>
            </a:r>
            <a:r>
              <a:rPr lang="en-US" sz="2000" dirty="0">
                <a:latin typeface="Helvetica Neue"/>
                <a:cs typeface="Helvetica Neue"/>
              </a:rPr>
              <a:t>Private Cloud software downloaded in over 150 countries around the globe </a:t>
            </a:r>
          </a:p>
          <a:p>
            <a:pPr marL="342900" indent="-342900">
              <a:spcBef>
                <a:spcPts val="600"/>
              </a:spcBef>
              <a:buFont typeface="Arial"/>
              <a:buChar char="•"/>
            </a:pPr>
            <a:r>
              <a:rPr lang="en-US" sz="2000" dirty="0" smtClean="0">
                <a:latin typeface="Helvetica Neue"/>
                <a:cs typeface="Helvetica Neue"/>
              </a:rPr>
              <a:t>Nine data centers </a:t>
            </a:r>
            <a:r>
              <a:rPr lang="en-US" sz="2000" dirty="0">
                <a:latin typeface="Helvetica Neue"/>
                <a:cs typeface="Helvetica Neue"/>
              </a:rPr>
              <a:t>around the world and </a:t>
            </a:r>
            <a:r>
              <a:rPr lang="en-US" sz="2000" dirty="0" smtClean="0">
                <a:latin typeface="Helvetica Neue"/>
                <a:cs typeface="Helvetica Neue"/>
              </a:rPr>
              <a:t>over 200K </a:t>
            </a:r>
            <a:r>
              <a:rPr lang="en-US" sz="2000" dirty="0">
                <a:latin typeface="Helvetica Neue"/>
                <a:cs typeface="Helvetica Neue"/>
              </a:rPr>
              <a:t>customers</a:t>
            </a:r>
            <a:endParaRPr lang="en-US" sz="2000" dirty="0" smtClean="0">
              <a:solidFill>
                <a:srgbClr val="404040"/>
              </a:solidFill>
              <a:latin typeface="Helvetica Neue"/>
              <a:cs typeface="Helvetica Neue"/>
            </a:endParaRPr>
          </a:p>
        </p:txBody>
      </p:sp>
      <p:pic>
        <p:nvPicPr>
          <p:cNvPr id="7" name="Picture 6"/>
          <p:cNvPicPr>
            <a:picLocks noChangeAspect="1"/>
          </p:cNvPicPr>
          <p:nvPr/>
        </p:nvPicPr>
        <p:blipFill>
          <a:blip r:embed="rId3" cstate="print"/>
          <a:stretch>
            <a:fillRect/>
          </a:stretch>
        </p:blipFill>
        <p:spPr>
          <a:xfrm>
            <a:off x="736602" y="8254152"/>
            <a:ext cx="802790" cy="573422"/>
          </a:xfrm>
          <a:prstGeom prst="rect">
            <a:avLst/>
          </a:prstGeom>
        </p:spPr>
      </p:pic>
      <p:sp>
        <p:nvSpPr>
          <p:cNvPr id="8" name="Text Box 2"/>
          <p:cNvSpPr txBox="1">
            <a:spLocks noChangeArrowheads="1"/>
          </p:cNvSpPr>
          <p:nvPr/>
        </p:nvSpPr>
        <p:spPr bwMode="auto">
          <a:xfrm>
            <a:off x="1681758" y="8421924"/>
            <a:ext cx="3178409" cy="1265094"/>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808080"/>
                </a:solidFill>
                <a:round/>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lIns="50760" tIns="50760" rIns="50760" bIns="50760"/>
          <a:lstStyle>
            <a:lvl1pPr marL="315913" indent="-315913">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1pPr>
            <a:lvl2pPr>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2pPr>
            <a:lvl3pPr>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3pPr>
            <a:lvl4pPr>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4pPr>
            <a:lvl5pPr>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5pPr>
            <a:lvl6pPr marL="2514600" indent="-228600" algn="ctr" fontAlgn="base">
              <a:spcBef>
                <a:spcPct val="0"/>
              </a:spcBef>
              <a:spcAft>
                <a:spcPct val="0"/>
              </a:spcAft>
              <a:buClr>
                <a:srgbClr val="000000"/>
              </a:buClr>
              <a:buSzPct val="100000"/>
              <a:buFont typeface="Times New Roman" charset="0"/>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6pPr>
            <a:lvl7pPr marL="2971800" indent="-228600" algn="ctr" fontAlgn="base">
              <a:spcBef>
                <a:spcPct val="0"/>
              </a:spcBef>
              <a:spcAft>
                <a:spcPct val="0"/>
              </a:spcAft>
              <a:buClr>
                <a:srgbClr val="000000"/>
              </a:buClr>
              <a:buSzPct val="100000"/>
              <a:buFont typeface="Times New Roman" charset="0"/>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7pPr>
            <a:lvl8pPr marL="3429000" indent="-228600" algn="ctr" fontAlgn="base">
              <a:spcBef>
                <a:spcPct val="0"/>
              </a:spcBef>
              <a:spcAft>
                <a:spcPct val="0"/>
              </a:spcAft>
              <a:buClr>
                <a:srgbClr val="000000"/>
              </a:buClr>
              <a:buSzPct val="100000"/>
              <a:buFont typeface="Times New Roman" charset="0"/>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8pPr>
            <a:lvl9pPr marL="3886200" indent="-228600" algn="ctr" fontAlgn="base">
              <a:spcBef>
                <a:spcPct val="0"/>
              </a:spcBef>
              <a:spcAft>
                <a:spcPct val="0"/>
              </a:spcAft>
              <a:buClr>
                <a:srgbClr val="000000"/>
              </a:buClr>
              <a:buSzPct val="100000"/>
              <a:buFont typeface="Times New Roman" charset="0"/>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9pPr>
          </a:lstStyle>
          <a:p>
            <a:pPr marL="0" indent="0">
              <a:spcBef>
                <a:spcPts val="1200"/>
              </a:spcBef>
              <a:buClr>
                <a:srgbClr val="AF1C1C"/>
              </a:buClr>
              <a:buSzPct val="60000"/>
              <a:defRPr/>
            </a:pPr>
            <a:r>
              <a:rPr lang="en-US" sz="1800" dirty="0" smtClean="0">
                <a:solidFill>
                  <a:srgbClr val="646464"/>
                </a:solidFill>
                <a:latin typeface="Helvetica Neue" charset="0"/>
              </a:rPr>
              <a:t>www.Rackspace.com</a:t>
            </a:r>
          </a:p>
          <a:p>
            <a:pPr marL="0" indent="0">
              <a:spcBef>
                <a:spcPts val="1200"/>
              </a:spcBef>
              <a:buClr>
                <a:srgbClr val="AF1C1C"/>
              </a:buClr>
              <a:buSzPct val="60000"/>
              <a:defRPr/>
            </a:pPr>
            <a:endParaRPr lang="en-US" sz="400" dirty="0" smtClean="0">
              <a:solidFill>
                <a:srgbClr val="646464"/>
              </a:solidFill>
              <a:latin typeface="Helvetica Neue" charset="0"/>
              <a:hlinkClick r:id="rId4"/>
            </a:endParaRPr>
          </a:p>
          <a:p>
            <a:pPr marL="0" indent="0">
              <a:spcBef>
                <a:spcPts val="1200"/>
              </a:spcBef>
              <a:buClr>
                <a:srgbClr val="AF1C1C"/>
              </a:buClr>
              <a:buSzPct val="60000"/>
              <a:defRPr/>
            </a:pPr>
            <a:r>
              <a:rPr lang="en-US" sz="1800" dirty="0" smtClean="0">
                <a:solidFill>
                  <a:srgbClr val="646464"/>
                </a:solidFill>
                <a:latin typeface="Helvetica Neue" charset="0"/>
              </a:rPr>
              <a:t>www.Rackspace.co.uk</a:t>
            </a:r>
          </a:p>
          <a:p>
            <a:pPr marL="0" indent="0">
              <a:spcBef>
                <a:spcPts val="1200"/>
              </a:spcBef>
              <a:buClr>
                <a:srgbClr val="AF1C1C"/>
              </a:buClr>
              <a:buSzPct val="60000"/>
              <a:defRPr/>
            </a:pPr>
            <a:endParaRPr lang="en-US" sz="1800" dirty="0" smtClean="0">
              <a:solidFill>
                <a:srgbClr val="646464"/>
              </a:solidFill>
              <a:latin typeface="Helvetica Neue" charset="0"/>
            </a:endParaRPr>
          </a:p>
        </p:txBody>
      </p:sp>
      <p:sp>
        <p:nvSpPr>
          <p:cNvPr id="11" name="Rectangle 10"/>
          <p:cNvSpPr/>
          <p:nvPr/>
        </p:nvSpPr>
        <p:spPr>
          <a:xfrm>
            <a:off x="1198612" y="2040424"/>
            <a:ext cx="11054348" cy="1815882"/>
          </a:xfrm>
          <a:prstGeom prst="rect">
            <a:avLst/>
          </a:prstGeom>
        </p:spPr>
        <p:txBody>
          <a:bodyPr wrap="square">
            <a:spAutoFit/>
          </a:bodyPr>
          <a:lstStyle/>
          <a:p>
            <a:pPr>
              <a:buClr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lang="en-US" sz="2800" dirty="0" smtClean="0">
                <a:solidFill>
                  <a:schemeClr val="bg1"/>
                </a:solidFill>
                <a:effectLst>
                  <a:outerShdw blurRad="38100" dist="38100" dir="2700000" algn="tl">
                    <a:srgbClr val="000000">
                      <a:alpha val="43137"/>
                    </a:srgbClr>
                  </a:outerShdw>
                </a:effectLst>
                <a:latin typeface="Helvetica Neue" charset="0"/>
              </a:rPr>
              <a:t>“We’re moving into a world of open standards where a million clouds will soar—where each business customer can find the right cloud for its unique needs, along with the reliability and flexibility that everyone deserves.”</a:t>
            </a:r>
            <a:endParaRPr lang="en-US" sz="2800" dirty="0">
              <a:solidFill>
                <a:schemeClr val="bg1"/>
              </a:solidFill>
              <a:effectLst>
                <a:outerShdw blurRad="38100" dist="38100" dir="2700000" algn="tl">
                  <a:srgbClr val="000000">
                    <a:alpha val="43137"/>
                  </a:srgbClr>
                </a:outerShdw>
              </a:effectLst>
              <a:latin typeface="Helvetica Neue" charset="0"/>
            </a:endParaRPr>
          </a:p>
        </p:txBody>
      </p:sp>
      <p:sp>
        <p:nvSpPr>
          <p:cNvPr id="14" name="Rectangle 13"/>
          <p:cNvSpPr/>
          <p:nvPr/>
        </p:nvSpPr>
        <p:spPr>
          <a:xfrm>
            <a:off x="7144290" y="3514674"/>
            <a:ext cx="5053806" cy="683264"/>
          </a:xfrm>
          <a:prstGeom prst="rect">
            <a:avLst/>
          </a:prstGeom>
        </p:spPr>
        <p:txBody>
          <a:bodyPr wrap="square">
            <a:spAutoFit/>
          </a:bodyPr>
          <a:lstStyle/>
          <a:p>
            <a:pPr algn="r">
              <a:lnSpc>
                <a:spcPct val="80000"/>
              </a:lnSpc>
              <a:buClr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lang="en-US" sz="2400" dirty="0" smtClean="0">
                <a:latin typeface="Helvetica Neue" charset="0"/>
              </a:rPr>
              <a:t>Lanham Napier</a:t>
            </a:r>
          </a:p>
          <a:p>
            <a:pPr algn="r">
              <a:lnSpc>
                <a:spcPct val="80000"/>
              </a:lnSpc>
              <a:buClr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lang="en-US" sz="2400" dirty="0" smtClean="0">
                <a:latin typeface="Helvetica Neue" charset="0"/>
              </a:rPr>
              <a:t>Rackspace CEO</a:t>
            </a:r>
            <a:endParaRPr lang="en-US" sz="2400" dirty="0">
              <a:latin typeface="Helvetica Neue" charset="0"/>
            </a:endParaRPr>
          </a:p>
        </p:txBody>
      </p:sp>
      <p:pic>
        <p:nvPicPr>
          <p:cNvPr id="12" name="Picture 11"/>
          <p:cNvPicPr>
            <a:picLocks noChangeAspect="1"/>
          </p:cNvPicPr>
          <p:nvPr/>
        </p:nvPicPr>
        <p:blipFill>
          <a:blip r:embed="rId5" cstate="print"/>
          <a:stretch>
            <a:fillRect/>
          </a:stretch>
        </p:blipFill>
        <p:spPr>
          <a:xfrm>
            <a:off x="736601" y="8965703"/>
            <a:ext cx="802789" cy="573420"/>
          </a:xfrm>
          <a:prstGeom prst="rect">
            <a:avLst/>
          </a:prstGeom>
        </p:spPr>
      </p:pic>
      <p:pic>
        <p:nvPicPr>
          <p:cNvPr id="15" name="Picture 14" descr="Rackspace_Cloud_Company_Logo_clr.png"/>
          <p:cNvPicPr>
            <a:picLocks noChangeAspect="1"/>
          </p:cNvPicPr>
          <p:nvPr/>
        </p:nvPicPr>
        <p:blipFill>
          <a:blip r:embed="rId6" cstate="print"/>
          <a:stretch>
            <a:fillRect/>
          </a:stretch>
        </p:blipFill>
        <p:spPr>
          <a:xfrm>
            <a:off x="6283819" y="4453384"/>
            <a:ext cx="4328101" cy="1291548"/>
          </a:xfrm>
          <a:prstGeom prst="rect">
            <a:avLst/>
          </a:prstGeom>
        </p:spPr>
      </p:pic>
      <p:pic>
        <p:nvPicPr>
          <p:cNvPr id="16" name="Picture 15" descr="Touch2Begin.Screen 1080x1920pixels.jpg"/>
          <p:cNvPicPr>
            <a:picLocks noChangeAspect="1"/>
          </p:cNvPicPr>
          <p:nvPr/>
        </p:nvPicPr>
        <p:blipFill>
          <a:blip r:embed="rId7" cstate="print"/>
          <a:srcRect t="6667" b="35739"/>
          <a:stretch>
            <a:fillRect/>
          </a:stretch>
        </p:blipFill>
        <p:spPr>
          <a:xfrm>
            <a:off x="736600" y="4572652"/>
            <a:ext cx="3422607" cy="3504390"/>
          </a:xfrm>
          <a:prstGeom prst="rect">
            <a:avLst/>
          </a:prstGeom>
        </p:spPr>
      </p:pic>
    </p:spTree>
    <p:extLst>
      <p:ext uri="{BB962C8B-B14F-4D97-AF65-F5344CB8AC3E}">
        <p14:creationId xmlns="" xmlns:p14="http://schemas.microsoft.com/office/powerpoint/2010/main" val="2734823134"/>
      </p:ext>
    </p:extLst>
  </p:cSld>
  <p:clrMapOvr>
    <a:masterClrMapping/>
  </p:clrMapOvr>
  <p:transition advClick="0" advTm="15000"/>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a:xfrm>
            <a:off x="0" y="0"/>
            <a:ext cx="11765923" cy="1702795"/>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bg1">
                  <a:lumMod val="95000"/>
                </a:schemeClr>
              </a:solidFill>
            </a:endParaRPr>
          </a:p>
        </p:txBody>
      </p:sp>
      <p:sp>
        <p:nvSpPr>
          <p:cNvPr id="10" name="Rectangle 9"/>
          <p:cNvSpPr/>
          <p:nvPr/>
        </p:nvSpPr>
        <p:spPr>
          <a:xfrm>
            <a:off x="1" y="1752599"/>
            <a:ext cx="13003212" cy="2752725"/>
          </a:xfrm>
          <a:prstGeom prst="rect">
            <a:avLst/>
          </a:prstGeom>
          <a:solidFill>
            <a:srgbClr val="B6261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4" name="Picture 3" descr="openstack-cloud-software-horizontal-cmyk.png"/>
          <p:cNvPicPr>
            <a:picLocks noChangeAspect="1"/>
          </p:cNvPicPr>
          <p:nvPr/>
        </p:nvPicPr>
        <p:blipFill>
          <a:blip r:embed="rId4" cstate="print">
            <a:extLst>
              <a:ext uri="{28A0092B-C50C-407E-A947-70E740481C1C}">
                <a14:useLocalDpi xmlns="" xmlns:a14="http://schemas.microsoft.com/office/drawing/2010/main" val="0"/>
              </a:ext>
            </a:extLst>
          </a:blip>
          <a:stretch>
            <a:fillRect/>
          </a:stretch>
        </p:blipFill>
        <p:spPr>
          <a:xfrm>
            <a:off x="11859874" y="584451"/>
            <a:ext cx="943336" cy="867668"/>
          </a:xfrm>
          <a:prstGeom prst="rect">
            <a:avLst/>
          </a:prstGeom>
        </p:spPr>
      </p:pic>
      <p:sp>
        <p:nvSpPr>
          <p:cNvPr id="5" name="TextBox 4"/>
          <p:cNvSpPr txBox="1"/>
          <p:nvPr/>
        </p:nvSpPr>
        <p:spPr>
          <a:xfrm>
            <a:off x="633306" y="573601"/>
            <a:ext cx="10284288" cy="615553"/>
          </a:xfrm>
          <a:prstGeom prst="rect">
            <a:avLst/>
          </a:prstGeom>
          <a:noFill/>
        </p:spPr>
        <p:txBody>
          <a:bodyPr wrap="square" rtlCol="0">
            <a:spAutoFit/>
          </a:bodyPr>
          <a:lstStyle/>
          <a:p>
            <a:r>
              <a:rPr lang="en-US" sz="3400" b="1" dirty="0" smtClean="0">
                <a:solidFill>
                  <a:schemeClr val="tx1">
                    <a:lumMod val="75000"/>
                    <a:lumOff val="25000"/>
                  </a:schemeClr>
                </a:solidFill>
                <a:latin typeface="Helvetica Neue" charset="0"/>
              </a:rPr>
              <a:t>HP Public Cloud </a:t>
            </a:r>
            <a:r>
              <a:rPr lang="en-US" sz="3400" dirty="0" smtClean="0">
                <a:solidFill>
                  <a:schemeClr val="tx1">
                    <a:lumMod val="75000"/>
                    <a:lumOff val="25000"/>
                  </a:schemeClr>
                </a:solidFill>
                <a:latin typeface="Helvetica Neue" charset="0"/>
              </a:rPr>
              <a:t>uses </a:t>
            </a:r>
            <a:r>
              <a:rPr lang="en-US" sz="3400" dirty="0" err="1" smtClean="0">
                <a:solidFill>
                  <a:schemeClr val="tx1">
                    <a:lumMod val="75000"/>
                    <a:lumOff val="25000"/>
                  </a:schemeClr>
                </a:solidFill>
                <a:latin typeface="Helvetica Neue" charset="0"/>
              </a:rPr>
              <a:t>OpenStack</a:t>
            </a:r>
            <a:endParaRPr lang="en-US" sz="3400" dirty="0" smtClean="0">
              <a:solidFill>
                <a:schemeClr val="tx1">
                  <a:lumMod val="75000"/>
                  <a:lumOff val="25000"/>
                </a:schemeClr>
              </a:solidFill>
              <a:latin typeface="Helvetica Neue" charset="0"/>
            </a:endParaRPr>
          </a:p>
        </p:txBody>
      </p:sp>
      <p:sp>
        <p:nvSpPr>
          <p:cNvPr id="6" name="Text Box 2"/>
          <p:cNvSpPr txBox="1">
            <a:spLocks noChangeArrowheads="1"/>
          </p:cNvSpPr>
          <p:nvPr/>
        </p:nvSpPr>
        <p:spPr bwMode="auto">
          <a:xfrm>
            <a:off x="4453672" y="5715466"/>
            <a:ext cx="8349537" cy="3472199"/>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808080"/>
                </a:solidFill>
                <a:round/>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lIns="50760" tIns="50760" rIns="50760" bIns="50760"/>
          <a:lstStyle>
            <a:lvl1pPr marL="315913" indent="-315913">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1pPr>
            <a:lvl2pPr>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2pPr>
            <a:lvl3pPr>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3pPr>
            <a:lvl4pPr>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4pPr>
            <a:lvl5pPr>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5pPr>
            <a:lvl6pPr marL="2514600" indent="-228600" algn="ctr" fontAlgn="base">
              <a:spcBef>
                <a:spcPct val="0"/>
              </a:spcBef>
              <a:spcAft>
                <a:spcPct val="0"/>
              </a:spcAft>
              <a:buClr>
                <a:srgbClr val="000000"/>
              </a:buClr>
              <a:buSzPct val="100000"/>
              <a:buFont typeface="Times New Roman" charset="0"/>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6pPr>
            <a:lvl7pPr marL="2971800" indent="-228600" algn="ctr" fontAlgn="base">
              <a:spcBef>
                <a:spcPct val="0"/>
              </a:spcBef>
              <a:spcAft>
                <a:spcPct val="0"/>
              </a:spcAft>
              <a:buClr>
                <a:srgbClr val="000000"/>
              </a:buClr>
              <a:buSzPct val="100000"/>
              <a:buFont typeface="Times New Roman" charset="0"/>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7pPr>
            <a:lvl8pPr marL="3429000" indent="-228600" algn="ctr" fontAlgn="base">
              <a:spcBef>
                <a:spcPct val="0"/>
              </a:spcBef>
              <a:spcAft>
                <a:spcPct val="0"/>
              </a:spcAft>
              <a:buClr>
                <a:srgbClr val="000000"/>
              </a:buClr>
              <a:buSzPct val="100000"/>
              <a:buFont typeface="Times New Roman" charset="0"/>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8pPr>
            <a:lvl9pPr marL="3886200" indent="-228600" algn="ctr" fontAlgn="base">
              <a:spcBef>
                <a:spcPct val="0"/>
              </a:spcBef>
              <a:spcAft>
                <a:spcPct val="0"/>
              </a:spcAft>
              <a:buClr>
                <a:srgbClr val="000000"/>
              </a:buClr>
              <a:buSzPct val="100000"/>
              <a:buFont typeface="Times New Roman" charset="0"/>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9pPr>
          </a:lstStyle>
          <a:p>
            <a:pPr marL="342900" indent="-342900" algn="l">
              <a:spcBef>
                <a:spcPts val="1200"/>
              </a:spcBef>
              <a:buClr>
                <a:srgbClr val="800000"/>
              </a:buClr>
              <a:buSzPct val="106000"/>
              <a:buFont typeface="Lucida Grande"/>
              <a:buChar char="‣"/>
              <a:defRPr/>
            </a:pPr>
            <a:r>
              <a:rPr lang="en-US" sz="2400" dirty="0" smtClean="0">
                <a:solidFill>
                  <a:srgbClr val="404040"/>
                </a:solidFill>
                <a:latin typeface="Helvetica Neue"/>
              </a:rPr>
              <a:t>Enterprise-grade public cloud with industry-leading SLAs, security and support</a:t>
            </a:r>
          </a:p>
          <a:p>
            <a:pPr marL="342900" indent="-342900" algn="l">
              <a:spcBef>
                <a:spcPts val="1200"/>
              </a:spcBef>
              <a:buClr>
                <a:srgbClr val="800000"/>
              </a:buClr>
              <a:buSzPct val="106000"/>
              <a:buFont typeface="Lucida Grande"/>
              <a:buChar char="‣"/>
              <a:defRPr/>
            </a:pPr>
            <a:r>
              <a:rPr lang="en-US" sz="2400" dirty="0" smtClean="0">
                <a:solidFill>
                  <a:srgbClr val="404040"/>
                </a:solidFill>
                <a:latin typeface="Helvetica Neue"/>
              </a:rPr>
              <a:t>Storage, Compute and Advanced Networking Services</a:t>
            </a:r>
          </a:p>
          <a:p>
            <a:pPr marL="342900" indent="-342900">
              <a:spcBef>
                <a:spcPts val="1200"/>
              </a:spcBef>
              <a:buClr>
                <a:srgbClr val="800000"/>
              </a:buClr>
              <a:buSzPct val="106000"/>
              <a:buFont typeface="Lucida Grande"/>
              <a:buChar char="‣"/>
              <a:defRPr/>
            </a:pPr>
            <a:r>
              <a:rPr lang="en-US" sz="2400" dirty="0">
                <a:solidFill>
                  <a:srgbClr val="404040"/>
                </a:solidFill>
                <a:latin typeface="Helvetica Neue"/>
              </a:rPr>
              <a:t>Part of a Converged Cloud platform by HP, the world’s largest IT </a:t>
            </a:r>
            <a:r>
              <a:rPr lang="en-US" sz="2400" dirty="0" smtClean="0">
                <a:solidFill>
                  <a:srgbClr val="404040"/>
                </a:solidFill>
                <a:latin typeface="Helvetica Neue"/>
              </a:rPr>
              <a:t>company</a:t>
            </a:r>
          </a:p>
          <a:p>
            <a:pPr marL="342900" indent="-342900" algn="l">
              <a:spcBef>
                <a:spcPts val="1200"/>
              </a:spcBef>
              <a:buClr>
                <a:srgbClr val="800000"/>
              </a:buClr>
              <a:buSzPct val="106000"/>
              <a:buFont typeface="Lucida Grande"/>
              <a:buChar char="‣"/>
              <a:defRPr/>
            </a:pPr>
            <a:r>
              <a:rPr lang="en-US" sz="2400" dirty="0" smtClean="0">
                <a:solidFill>
                  <a:srgbClr val="404040"/>
                </a:solidFill>
                <a:latin typeface="Helvetica Neue"/>
              </a:rPr>
              <a:t>OpenStack Leadership:</a:t>
            </a:r>
          </a:p>
          <a:p>
            <a:pPr marL="992901" lvl="1" indent="-342900">
              <a:spcBef>
                <a:spcPts val="1200"/>
              </a:spcBef>
              <a:buClr>
                <a:srgbClr val="800000"/>
              </a:buClr>
              <a:buSzPct val="100000"/>
              <a:buFont typeface="Lucida Grande"/>
              <a:buChar char="‣"/>
              <a:defRPr/>
            </a:pPr>
            <a:r>
              <a:rPr lang="en-US" sz="2000" dirty="0" smtClean="0">
                <a:solidFill>
                  <a:schemeClr val="tx1"/>
                </a:solidFill>
                <a:latin typeface="Helvetica Neue"/>
              </a:rPr>
              <a:t>Founding Platinum member of Foundation; </a:t>
            </a:r>
            <a:r>
              <a:rPr lang="en-US" sz="2000" dirty="0" smtClean="0"/>
              <a:t>Top </a:t>
            </a:r>
            <a:r>
              <a:rPr lang="en-US" sz="2000" dirty="0"/>
              <a:t>5 Code </a:t>
            </a:r>
            <a:r>
              <a:rPr lang="en-US" sz="2000" dirty="0" smtClean="0"/>
              <a:t>Contributor; </a:t>
            </a:r>
            <a:r>
              <a:rPr lang="en-US" sz="2000" dirty="0" smtClean="0">
                <a:solidFill>
                  <a:schemeClr val="tx1"/>
                </a:solidFill>
              </a:rPr>
              <a:t>Lead and staff OpenStack Continuous Integration (CI) </a:t>
            </a:r>
            <a:r>
              <a:rPr lang="en-US" sz="2000" dirty="0">
                <a:solidFill>
                  <a:schemeClr val="tx1"/>
                </a:solidFill>
              </a:rPr>
              <a:t>project </a:t>
            </a:r>
            <a:endParaRPr lang="en-US" sz="2000" dirty="0" smtClean="0">
              <a:solidFill>
                <a:schemeClr val="tx1"/>
              </a:solidFill>
              <a:latin typeface="Helvetica Neue"/>
            </a:endParaRPr>
          </a:p>
        </p:txBody>
      </p:sp>
      <p:sp>
        <p:nvSpPr>
          <p:cNvPr id="8" name="Text Box 2"/>
          <p:cNvSpPr txBox="1">
            <a:spLocks noChangeArrowheads="1"/>
          </p:cNvSpPr>
          <p:nvPr/>
        </p:nvSpPr>
        <p:spPr bwMode="auto">
          <a:xfrm>
            <a:off x="1820904" y="8740886"/>
            <a:ext cx="3178409" cy="466856"/>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808080"/>
                </a:solidFill>
                <a:round/>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lIns="50760" tIns="50760" rIns="50760" bIns="50760"/>
          <a:lstStyle>
            <a:lvl1pPr marL="315913" indent="-315913">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1pPr>
            <a:lvl2pPr>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2pPr>
            <a:lvl3pPr>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3pPr>
            <a:lvl4pPr>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4pPr>
            <a:lvl5pPr>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5pPr>
            <a:lvl6pPr marL="2514600" indent="-228600" algn="ctr" fontAlgn="base">
              <a:spcBef>
                <a:spcPct val="0"/>
              </a:spcBef>
              <a:spcAft>
                <a:spcPct val="0"/>
              </a:spcAft>
              <a:buClr>
                <a:srgbClr val="000000"/>
              </a:buClr>
              <a:buSzPct val="100000"/>
              <a:buFont typeface="Times New Roman" charset="0"/>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6pPr>
            <a:lvl7pPr marL="2971800" indent="-228600" algn="ctr" fontAlgn="base">
              <a:spcBef>
                <a:spcPct val="0"/>
              </a:spcBef>
              <a:spcAft>
                <a:spcPct val="0"/>
              </a:spcAft>
              <a:buClr>
                <a:srgbClr val="000000"/>
              </a:buClr>
              <a:buSzPct val="100000"/>
              <a:buFont typeface="Times New Roman" charset="0"/>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7pPr>
            <a:lvl8pPr marL="3429000" indent="-228600" algn="ctr" fontAlgn="base">
              <a:spcBef>
                <a:spcPct val="0"/>
              </a:spcBef>
              <a:spcAft>
                <a:spcPct val="0"/>
              </a:spcAft>
              <a:buClr>
                <a:srgbClr val="000000"/>
              </a:buClr>
              <a:buSzPct val="100000"/>
              <a:buFont typeface="Times New Roman" charset="0"/>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8pPr>
            <a:lvl9pPr marL="3886200" indent="-228600" algn="ctr" fontAlgn="base">
              <a:spcBef>
                <a:spcPct val="0"/>
              </a:spcBef>
              <a:spcAft>
                <a:spcPct val="0"/>
              </a:spcAft>
              <a:buClr>
                <a:srgbClr val="000000"/>
              </a:buClr>
              <a:buSzPct val="100000"/>
              <a:buFont typeface="Times New Roman" charset="0"/>
              <a:tabLst>
                <a:tab pos="911225" algn="l"/>
                <a:tab pos="1825625" algn="l"/>
                <a:tab pos="2740025" algn="l"/>
                <a:tab pos="3654425" algn="l"/>
                <a:tab pos="4568825" algn="l"/>
                <a:tab pos="5483225" algn="l"/>
                <a:tab pos="6397625" algn="l"/>
                <a:tab pos="7312025" algn="l"/>
                <a:tab pos="8226425" algn="l"/>
                <a:tab pos="9140825" algn="l"/>
                <a:tab pos="10055225" algn="l"/>
              </a:tabLst>
              <a:defRPr sz="4200">
                <a:solidFill>
                  <a:srgbClr val="000000"/>
                </a:solidFill>
                <a:latin typeface="Gill Sans" charset="0"/>
                <a:ea typeface="ヒラギノ角ゴ ProN W3" charset="0"/>
                <a:cs typeface="ヒラギノ角ゴ ProN W3" charset="0"/>
              </a:defRPr>
            </a:lvl9pPr>
          </a:lstStyle>
          <a:p>
            <a:pPr marL="0" indent="0">
              <a:spcBef>
                <a:spcPts val="1200"/>
              </a:spcBef>
              <a:buClr>
                <a:srgbClr val="AF1C1C"/>
              </a:buClr>
              <a:buSzPct val="60000"/>
              <a:defRPr/>
            </a:pPr>
            <a:endParaRPr lang="en-US" sz="1800" dirty="0" smtClean="0">
              <a:solidFill>
                <a:srgbClr val="646464"/>
              </a:solidFill>
              <a:latin typeface="Helvetica Neue" charset="0"/>
            </a:endParaRPr>
          </a:p>
        </p:txBody>
      </p:sp>
      <p:sp>
        <p:nvSpPr>
          <p:cNvPr id="11" name="Rectangle 10"/>
          <p:cNvSpPr/>
          <p:nvPr/>
        </p:nvSpPr>
        <p:spPr>
          <a:xfrm>
            <a:off x="537768" y="1873941"/>
            <a:ext cx="11687963" cy="1815882"/>
          </a:xfrm>
          <a:prstGeom prst="rect">
            <a:avLst/>
          </a:prstGeom>
        </p:spPr>
        <p:txBody>
          <a:bodyPr wrap="square">
            <a:spAutoFit/>
          </a:bodyPr>
          <a:lstStyle/>
          <a:p>
            <a:r>
              <a:rPr lang="en-US" sz="2800" dirty="0" smtClean="0">
                <a:solidFill>
                  <a:schemeClr val="bg1"/>
                </a:solidFill>
                <a:latin typeface="Helvetica Neue"/>
              </a:rPr>
              <a:t>“HP </a:t>
            </a:r>
            <a:r>
              <a:rPr lang="en-US" sz="2800" dirty="0">
                <a:solidFill>
                  <a:schemeClr val="bg1"/>
                </a:solidFill>
                <a:latin typeface="Helvetica Neue"/>
              </a:rPr>
              <a:t>is </a:t>
            </a:r>
            <a:r>
              <a:rPr lang="en-US" sz="2800" dirty="0" smtClean="0">
                <a:solidFill>
                  <a:schemeClr val="bg1"/>
                </a:solidFill>
                <a:latin typeface="Helvetica Neue"/>
              </a:rPr>
              <a:t>providing </a:t>
            </a:r>
            <a:r>
              <a:rPr lang="en-US" sz="2800" dirty="0">
                <a:solidFill>
                  <a:schemeClr val="bg1"/>
                </a:solidFill>
                <a:latin typeface="Helvetica Neue"/>
              </a:rPr>
              <a:t>an open, </a:t>
            </a:r>
            <a:r>
              <a:rPr lang="en-US" sz="2800" dirty="0" smtClean="0">
                <a:solidFill>
                  <a:schemeClr val="bg1"/>
                </a:solidFill>
                <a:latin typeface="Helvetica Neue"/>
              </a:rPr>
              <a:t>enterprise-grade </a:t>
            </a:r>
            <a:r>
              <a:rPr lang="en-US" sz="2800" dirty="0">
                <a:solidFill>
                  <a:schemeClr val="bg1"/>
                </a:solidFill>
                <a:latin typeface="Helvetica Neue"/>
              </a:rPr>
              <a:t>cloud platform based on OpenStack® </a:t>
            </a:r>
            <a:r>
              <a:rPr lang="en-US" sz="2800" dirty="0" smtClean="0">
                <a:solidFill>
                  <a:schemeClr val="bg1"/>
                </a:solidFill>
                <a:latin typeface="Helvetica Neue"/>
              </a:rPr>
              <a:t>technology, combining </a:t>
            </a:r>
            <a:r>
              <a:rPr lang="en-US" sz="2800" dirty="0">
                <a:solidFill>
                  <a:schemeClr val="bg1"/>
                </a:solidFill>
                <a:latin typeface="Helvetica Neue"/>
              </a:rPr>
              <a:t>the best of OpenStack and HP </a:t>
            </a:r>
            <a:r>
              <a:rPr lang="en-US" sz="2800" dirty="0" smtClean="0">
                <a:solidFill>
                  <a:schemeClr val="bg1"/>
                </a:solidFill>
                <a:latin typeface="Helvetica Neue"/>
              </a:rPr>
              <a:t>innovation to enable </a:t>
            </a:r>
            <a:r>
              <a:rPr lang="en-US" sz="2800" dirty="0">
                <a:solidFill>
                  <a:schemeClr val="bg1"/>
                </a:solidFill>
                <a:latin typeface="Helvetica Neue"/>
              </a:rPr>
              <a:t>enterprises to </a:t>
            </a:r>
            <a:r>
              <a:rPr lang="en-US" sz="2800" dirty="0" smtClean="0">
                <a:solidFill>
                  <a:schemeClr val="bg1"/>
                </a:solidFill>
                <a:latin typeface="Helvetica Neue"/>
              </a:rPr>
              <a:t>adopt </a:t>
            </a:r>
            <a:r>
              <a:rPr lang="en-US" sz="2800" dirty="0">
                <a:solidFill>
                  <a:schemeClr val="bg1"/>
                </a:solidFill>
                <a:latin typeface="Helvetica Neue"/>
              </a:rPr>
              <a:t>hybrid delivery </a:t>
            </a:r>
            <a:r>
              <a:rPr lang="en-US" sz="2800" dirty="0" smtClean="0">
                <a:solidFill>
                  <a:schemeClr val="bg1"/>
                </a:solidFill>
                <a:latin typeface="Helvetica Neue"/>
              </a:rPr>
              <a:t>models across private</a:t>
            </a:r>
            <a:r>
              <a:rPr lang="en-US" sz="2800" dirty="0">
                <a:solidFill>
                  <a:schemeClr val="bg1"/>
                </a:solidFill>
                <a:latin typeface="Helvetica Neue"/>
              </a:rPr>
              <a:t>, managed and public cloud </a:t>
            </a:r>
            <a:r>
              <a:rPr lang="en-US" sz="2800" dirty="0" smtClean="0">
                <a:solidFill>
                  <a:schemeClr val="bg1"/>
                </a:solidFill>
                <a:latin typeface="Helvetica Neue"/>
              </a:rPr>
              <a:t>services.”</a:t>
            </a:r>
            <a:r>
              <a:rPr lang="en-US" sz="2800" dirty="0" smtClean="0">
                <a:solidFill>
                  <a:schemeClr val="bg1"/>
                </a:solidFill>
              </a:rPr>
              <a:t>		</a:t>
            </a:r>
            <a:r>
              <a:rPr lang="en-US" sz="2800" i="1" dirty="0" smtClean="0">
                <a:solidFill>
                  <a:schemeClr val="bg1"/>
                </a:solidFill>
              </a:rPr>
              <a:t>								</a:t>
            </a:r>
            <a:endParaRPr lang="en-US" sz="2800" dirty="0"/>
          </a:p>
        </p:txBody>
      </p:sp>
      <p:sp>
        <p:nvSpPr>
          <p:cNvPr id="2" name="Rectangle 1"/>
          <p:cNvSpPr/>
          <p:nvPr/>
        </p:nvSpPr>
        <p:spPr>
          <a:xfrm>
            <a:off x="736600" y="8733044"/>
            <a:ext cx="3083921" cy="523220"/>
          </a:xfrm>
          <a:prstGeom prst="rect">
            <a:avLst/>
          </a:prstGeom>
        </p:spPr>
        <p:txBody>
          <a:bodyPr wrap="none">
            <a:spAutoFit/>
          </a:bodyPr>
          <a:lstStyle/>
          <a:p>
            <a:r>
              <a:rPr lang="en-US" sz="2800" dirty="0">
                <a:solidFill>
                  <a:srgbClr val="646464"/>
                </a:solidFill>
                <a:latin typeface="Helvetica Neue"/>
              </a:rPr>
              <a:t>www.hpcloud.com</a:t>
            </a:r>
          </a:p>
        </p:txBody>
      </p:sp>
      <p:grpSp>
        <p:nvGrpSpPr>
          <p:cNvPr id="3" name="Group 2"/>
          <p:cNvGrpSpPr/>
          <p:nvPr/>
        </p:nvGrpSpPr>
        <p:grpSpPr>
          <a:xfrm>
            <a:off x="-210928" y="5229486"/>
            <a:ext cx="5057859" cy="2946120"/>
            <a:chOff x="-538157" y="4657986"/>
            <a:chExt cx="3529808" cy="2056055"/>
          </a:xfrm>
        </p:grpSpPr>
        <p:pic>
          <p:nvPicPr>
            <p:cNvPr id="18" name="Picture 6" descr="C:\Users\DEG00\Documents\HP Templates\Converged_Infographic_HO_112612\Public Cloud\PublicCloud_blue_positive_NT.png"/>
            <p:cNvPicPr>
              <a:picLocks noChangeAspect="1" noChangeArrowheads="1"/>
            </p:cNvPicPr>
            <p:nvPr/>
          </p:nvPicPr>
          <p:blipFill>
            <a:blip r:embed="rId5" cstate="screen">
              <a:extLst>
                <a:ext uri="{28A0092B-C50C-407E-A947-70E740481C1C}">
                  <a14:useLocalDpi xmlns="" xmlns:a14="http://schemas.microsoft.com/office/drawing/2010/main"/>
                </a:ext>
              </a:extLst>
            </a:blip>
            <a:srcRect/>
            <a:stretch>
              <a:fillRect/>
            </a:stretch>
          </p:blipFill>
          <p:spPr bwMode="auto">
            <a:xfrm>
              <a:off x="123109" y="4657986"/>
              <a:ext cx="1804981" cy="1237903"/>
            </a:xfrm>
            <a:prstGeom prst="rect">
              <a:avLst/>
            </a:prstGeom>
            <a:noFill/>
            <a:extLst>
              <a:ext uri="{909E8E84-426E-40DD-AFC4-6F175D3DCCD1}">
                <a14:hiddenFill xmlns="" xmlns:a14="http://schemas.microsoft.com/office/drawing/2010/main">
                  <a:solidFill>
                    <a:srgbClr val="FFFFFF"/>
                  </a:solidFill>
                </a14:hiddenFill>
              </a:ext>
            </a:extLst>
          </p:spPr>
        </p:pic>
        <p:sp>
          <p:nvSpPr>
            <p:cNvPr id="21" name="TextBox 23"/>
            <p:cNvSpPr txBox="1">
              <a:spLocks noChangeArrowheads="1"/>
            </p:cNvSpPr>
            <p:nvPr>
              <p:custDataLst>
                <p:tags r:id="rId1"/>
              </p:custDataLst>
            </p:nvPr>
          </p:nvSpPr>
          <p:spPr bwMode="auto">
            <a:xfrm>
              <a:off x="-538157" y="6129266"/>
              <a:ext cx="3529808" cy="584775"/>
            </a:xfrm>
            <a:prstGeom prst="rect">
              <a:avLst/>
            </a:prstGeom>
            <a:noFill/>
            <a:ln w="9525">
              <a:noFill/>
              <a:miter lim="800000"/>
              <a:headEnd/>
              <a:tailEnd/>
            </a:ln>
          </p:spPr>
          <p:txBody>
            <a:bodyPr wrap="square" lIns="0" rIns="0">
              <a:spAutoFit/>
            </a:bodyPr>
            <a:lstStyle/>
            <a:p>
              <a:pPr algn="ctr" defTabSz="457200">
                <a:defRPr/>
              </a:pPr>
              <a:r>
                <a:rPr lang="en-US" sz="3200" b="1" dirty="0" smtClean="0">
                  <a:solidFill>
                    <a:prstClr val="black"/>
                  </a:solidFill>
                  <a:latin typeface="HP Simplified" pitchFamily="34" charset="0"/>
                  <a:cs typeface="Arial" pitchFamily="34" charset="0"/>
                </a:rPr>
                <a:t>HP Public Cloud</a:t>
              </a:r>
              <a:endParaRPr lang="en-US" sz="3200" b="1" dirty="0">
                <a:solidFill>
                  <a:prstClr val="black"/>
                </a:solidFill>
                <a:latin typeface="HP Simplified" pitchFamily="34" charset="0"/>
                <a:cs typeface="Arial" pitchFamily="34" charset="0"/>
              </a:endParaRPr>
            </a:p>
          </p:txBody>
        </p:sp>
      </p:grpSp>
      <p:pic>
        <p:nvPicPr>
          <p:cNvPr id="22" name="Picture 21" descr="HP_Blue_RGB_150_LG.png"/>
          <p:cNvPicPr>
            <a:picLocks noChangeAspect="1"/>
          </p:cNvPicPr>
          <p:nvPr/>
        </p:nvPicPr>
        <p:blipFill>
          <a:blip r:embed="rId6" cstate="print">
            <a:extLst>
              <a:ext uri="{28A0092B-C50C-407E-A947-70E740481C1C}">
                <a14:useLocalDpi xmlns="" xmlns:a14="http://schemas.microsoft.com/office/drawing/2010/main" val="0"/>
              </a:ext>
            </a:extLst>
          </a:blip>
          <a:stretch>
            <a:fillRect/>
          </a:stretch>
        </p:blipFill>
        <p:spPr>
          <a:xfrm>
            <a:off x="7891376" y="4669118"/>
            <a:ext cx="900720" cy="900720"/>
          </a:xfrm>
          <a:prstGeom prst="rect">
            <a:avLst/>
          </a:prstGeom>
        </p:spPr>
      </p:pic>
      <p:sp>
        <p:nvSpPr>
          <p:cNvPr id="14" name="Rectangle 13"/>
          <p:cNvSpPr/>
          <p:nvPr/>
        </p:nvSpPr>
        <p:spPr>
          <a:xfrm>
            <a:off x="4453672" y="3514674"/>
            <a:ext cx="7744424" cy="683264"/>
          </a:xfrm>
          <a:prstGeom prst="rect">
            <a:avLst/>
          </a:prstGeom>
        </p:spPr>
        <p:txBody>
          <a:bodyPr wrap="square">
            <a:spAutoFit/>
          </a:bodyPr>
          <a:lstStyle/>
          <a:p>
            <a:pPr algn="r">
              <a:lnSpc>
                <a:spcPct val="80000"/>
              </a:lnSpc>
              <a:buClr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lang="en-US" sz="2400" dirty="0" smtClean="0">
                <a:latin typeface="Helvetica Neue" charset="0"/>
              </a:rPr>
              <a:t>Eileen Evans</a:t>
            </a:r>
          </a:p>
          <a:p>
            <a:pPr algn="r">
              <a:lnSpc>
                <a:spcPct val="80000"/>
              </a:lnSpc>
              <a:buClr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lang="en-US" sz="2400" dirty="0" smtClean="0">
                <a:latin typeface="Helvetica Neue" charset="0"/>
              </a:rPr>
              <a:t>HP Vice President &amp; OpenStack Board Member</a:t>
            </a:r>
            <a:endParaRPr lang="en-US" sz="2400" dirty="0">
              <a:latin typeface="Helvetica Neue" charset="0"/>
            </a:endParaRPr>
          </a:p>
        </p:txBody>
      </p:sp>
    </p:spTree>
    <p:extLst>
      <p:ext uri="{BB962C8B-B14F-4D97-AF65-F5344CB8AC3E}">
        <p14:creationId xmlns="" xmlns:p14="http://schemas.microsoft.com/office/powerpoint/2010/main" val="1880480028"/>
      </p:ext>
    </p:extLst>
  </p:cSld>
  <p:clrMapOvr>
    <a:masterClrMapping/>
  </p:clrMapOvr>
  <p:transition advClick="0" advTm="15000"/>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9lkmnnHGLUeqFr61BRMgj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q9ltRcfjk.HTG8Ojq3R4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DejaVu Sans"/>
        <a:cs typeface="DejaVu Sans"/>
      </a:majorFont>
      <a:minorFont>
        <a:latin typeface="Arial"/>
        <a:ea typeface="DejaVu Sans"/>
        <a:cs typeface="DejaVu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87</TotalTime>
  <Words>997</Words>
  <Application>Microsoft Office PowerPoint</Application>
  <PresentationFormat>Custom</PresentationFormat>
  <Paragraphs>104</Paragraphs>
  <Slides>10</Slides>
  <Notes>1</Notes>
  <HiddenSlides>0</HiddenSlides>
  <MMClips>0</MMClips>
  <ScaleCrop>false</ScaleCrop>
  <HeadingPairs>
    <vt:vector size="4" baseType="variant">
      <vt:variant>
        <vt:lpstr>Theme</vt:lpstr>
      </vt:variant>
      <vt:variant>
        <vt:i4>1</vt:i4>
      </vt:variant>
      <vt:variant>
        <vt:lpstr>Slide Titles</vt:lpstr>
      </vt:variant>
      <vt:variant>
        <vt:i4>10</vt:i4>
      </vt:variant>
    </vt:vector>
  </HeadingPairs>
  <TitlesOfParts>
    <vt:vector size="11" baseType="lpstr">
      <vt:lpstr>Office Theme</vt:lpstr>
      <vt:lpstr>Slide 1</vt:lpstr>
      <vt:lpstr>Slide 2</vt:lpstr>
      <vt:lpstr>Slide 3</vt:lpstr>
      <vt:lpstr>Slide 4</vt:lpstr>
      <vt:lpstr>Slide 5</vt:lpstr>
      <vt:lpstr>Slide 6</vt:lpstr>
      <vt:lpstr>Slide 7</vt:lpstr>
      <vt:lpstr>Slide 8</vt:lpstr>
      <vt:lpstr>Slide 9</vt:lpstr>
      <vt:lpstr>Slide 10</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owner</dc:creator>
  <cp:lastModifiedBy>Kathy</cp:lastModifiedBy>
  <cp:revision>20</cp:revision>
  <dcterms:modified xsi:type="dcterms:W3CDTF">2013-03-21T16:28:31Z</dcterms:modified>
</cp:coreProperties>
</file>